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40" r:id="rId4"/>
    <p:sldMasterId id="2147483842" r:id="rId5"/>
    <p:sldMasterId id="2147483882" r:id="rId6"/>
    <p:sldMasterId id="2147483925" r:id="rId7"/>
    <p:sldMasterId id="2147483962" r:id="rId8"/>
  </p:sldMasterIdLst>
  <p:notesMasterIdLst>
    <p:notesMasterId r:id="rId15"/>
  </p:notesMasterIdLst>
  <p:handoutMasterIdLst>
    <p:handoutMasterId r:id="rId16"/>
  </p:handoutMasterIdLst>
  <p:sldIdLst>
    <p:sldId id="2146845808" r:id="rId9"/>
    <p:sldId id="2147470456" r:id="rId10"/>
    <p:sldId id="2147470463" r:id="rId11"/>
    <p:sldId id="2147470461" r:id="rId12"/>
    <p:sldId id="2147470462" r:id="rId13"/>
    <p:sldId id="2147470459" r:id="rId14"/>
  </p:sldIdLst>
  <p:sldSz cx="12192000" cy="6858000"/>
  <p:notesSz cx="6889750" cy="10021888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AB05124-747A-40AB-92EB-8E491F059753}">
          <p14:sldIdLst>
            <p14:sldId id="2146845808"/>
            <p14:sldId id="2147470456"/>
            <p14:sldId id="2147470463"/>
            <p14:sldId id="2147470461"/>
            <p14:sldId id="2147470462"/>
            <p14:sldId id="2147470459"/>
          </p14:sldIdLst>
        </p14:section>
        <p14:section name="Attachments" id="{DC5D41D9-5F08-4681-81B2-B17F27AEBA0B}">
          <p14:sldIdLst/>
        </p14:section>
      </p14:sectionLst>
    </p:ext>
    <p:ext uri="{EFAFB233-063F-42B5-8137-9DF3F51BA10A}">
      <p15:sldGuideLst xmlns:p15="http://schemas.microsoft.com/office/powerpoint/2012/main">
        <p15:guide id="1" pos="7423" userDrawn="1">
          <p15:clr>
            <a:srgbClr val="A4A3A4"/>
          </p15:clr>
        </p15:guide>
        <p15:guide id="2" orient="horz" pos="3884" userDrawn="1">
          <p15:clr>
            <a:srgbClr val="A4A3A4"/>
          </p15:clr>
        </p15:guide>
        <p15:guide id="3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rol Gobby" initials="CG" lastIdx="1" clrIdx="0">
    <p:extLst>
      <p:ext uri="{19B8F6BF-5375-455C-9EA6-DF929625EA0E}">
        <p15:presenceInfo xmlns:p15="http://schemas.microsoft.com/office/powerpoint/2012/main" userId="S::carol.gobby@avanade.com::a387627e-405f-4fd4-9846-c234e27eff1b" providerId="AD"/>
      </p:ext>
    </p:extLst>
  </p:cmAuthor>
  <p:cmAuthor id="2" name="Jacqueline Schofield" initials="JS" lastIdx="54" clrIdx="1">
    <p:extLst>
      <p:ext uri="{19B8F6BF-5375-455C-9EA6-DF929625EA0E}">
        <p15:presenceInfo xmlns:p15="http://schemas.microsoft.com/office/powerpoint/2012/main" userId="S::j.schofield@avanade.com::c952f7e7-e177-4fab-8b93-78c4a382292b" providerId="AD"/>
      </p:ext>
    </p:extLst>
  </p:cmAuthor>
  <p:cmAuthor id="3" name="Jim Edwards" initials="JE" lastIdx="2" clrIdx="2">
    <p:extLst>
      <p:ext uri="{19B8F6BF-5375-455C-9EA6-DF929625EA0E}">
        <p15:presenceInfo xmlns:p15="http://schemas.microsoft.com/office/powerpoint/2012/main" userId="S::jim.edwards@avanade.com::02ec4613-e7be-4dee-ad87-b5feb747374b" providerId="AD"/>
      </p:ext>
    </p:extLst>
  </p:cmAuthor>
  <p:cmAuthor id="4" name="Filip Vanden Houte" initials="FVH" lastIdx="2" clrIdx="3">
    <p:extLst>
      <p:ext uri="{19B8F6BF-5375-455C-9EA6-DF929625EA0E}">
        <p15:presenceInfo xmlns:p15="http://schemas.microsoft.com/office/powerpoint/2012/main" userId="S::filip.vanden.houte@avanade.com::a6387236-20bc-4217-8b19-7418d881a191" providerId="AD"/>
      </p:ext>
    </p:extLst>
  </p:cmAuthor>
  <p:cmAuthor id="5" name="Andrew Moroney" initials="AM" lastIdx="6" clrIdx="4">
    <p:extLst>
      <p:ext uri="{19B8F6BF-5375-455C-9EA6-DF929625EA0E}">
        <p15:presenceInfo xmlns:p15="http://schemas.microsoft.com/office/powerpoint/2012/main" userId="S::andrew.moroney@avanade.com::86ef14ac-d045-460d-8084-1523882478d1" providerId="AD"/>
      </p:ext>
    </p:extLst>
  </p:cmAuthor>
  <p:cmAuthor id="6" name="Jarrod Jones" initials="JJ" lastIdx="2" clrIdx="5">
    <p:extLst>
      <p:ext uri="{19B8F6BF-5375-455C-9EA6-DF929625EA0E}">
        <p15:presenceInfo xmlns:p15="http://schemas.microsoft.com/office/powerpoint/2012/main" userId="S::jarrod.jones@avanade.com::3002b15d-8377-4a44-8c7b-08400fcd20bb" providerId="AD"/>
      </p:ext>
    </p:extLst>
  </p:cmAuthor>
  <p:cmAuthor id="7" name="Saul Darby" initials="SD" lastIdx="1" clrIdx="6">
    <p:extLst>
      <p:ext uri="{19B8F6BF-5375-455C-9EA6-DF929625EA0E}">
        <p15:presenceInfo xmlns:p15="http://schemas.microsoft.com/office/powerpoint/2012/main" userId="S::saul.darby@avanade.com::b080542e-3e54-4b03-90ae-2cae9fd3a872" providerId="AD"/>
      </p:ext>
    </p:extLst>
  </p:cmAuthor>
  <p:cmAuthor id="8" name="Lourens J. Swanepoel" initials="LJS" lastIdx="2" clrIdx="7">
    <p:extLst>
      <p:ext uri="{19B8F6BF-5375-455C-9EA6-DF929625EA0E}">
        <p15:presenceInfo xmlns:p15="http://schemas.microsoft.com/office/powerpoint/2012/main" userId="S::lourens.j.swanepoel@avanade.com::6cc7a089-c3ac-4a75-8405-22fbaed9bef0" providerId="AD"/>
      </p:ext>
    </p:extLst>
  </p:cmAuthor>
  <p:cmAuthor id="9" name="Dan McMahon" initials="DM" lastIdx="1" clrIdx="8">
    <p:extLst>
      <p:ext uri="{19B8F6BF-5375-455C-9EA6-DF929625EA0E}">
        <p15:presenceInfo xmlns:p15="http://schemas.microsoft.com/office/powerpoint/2012/main" userId="S::dan.mcmahon@avanade.com::499fe0ab-cec0-4c6c-ad98-5fa5d0fe01a8" providerId="AD"/>
      </p:ext>
    </p:extLst>
  </p:cmAuthor>
  <p:cmAuthor id="10" name="Luke Rainbow" initials="LR" lastIdx="19" clrIdx="9">
    <p:extLst>
      <p:ext uri="{19B8F6BF-5375-455C-9EA6-DF929625EA0E}">
        <p15:presenceInfo xmlns:p15="http://schemas.microsoft.com/office/powerpoint/2012/main" userId="S::luke.rainbow@avanade.com::049903d8-f8db-46db-addb-954ff6ee374f" providerId="AD"/>
      </p:ext>
    </p:extLst>
  </p:cmAuthor>
  <p:cmAuthor id="11" name="Jax Fong" initials="JF" lastIdx="8" clrIdx="10">
    <p:extLst>
      <p:ext uri="{19B8F6BF-5375-455C-9EA6-DF929625EA0E}">
        <p15:presenceInfo xmlns:p15="http://schemas.microsoft.com/office/powerpoint/2012/main" userId="S::jax.fong@avanade.com::3733a3cd-3389-42a7-a084-e1ffcc543b43" providerId="AD"/>
      </p:ext>
    </p:extLst>
  </p:cmAuthor>
  <p:cmAuthor id="12" name="Lawrence Liang" initials="LL" lastIdx="8" clrIdx="11">
    <p:extLst>
      <p:ext uri="{19B8F6BF-5375-455C-9EA6-DF929625EA0E}">
        <p15:presenceInfo xmlns:p15="http://schemas.microsoft.com/office/powerpoint/2012/main" userId="S::lawrence.liang@avanade.com::2356a4e8-4262-42d2-ba55-6d20cb1b5ea7" providerId="AD"/>
      </p:ext>
    </p:extLst>
  </p:cmAuthor>
  <p:cmAuthor id="13" name="Andrew Stahel" initials="AS" lastIdx="1" clrIdx="12">
    <p:extLst>
      <p:ext uri="{19B8F6BF-5375-455C-9EA6-DF929625EA0E}">
        <p15:presenceInfo xmlns:p15="http://schemas.microsoft.com/office/powerpoint/2012/main" userId="S::andrew.stahel@avanade.com::17f8a985-b65a-46cc-b06f-e8e70d6ac5c9" providerId="AD"/>
      </p:ext>
    </p:extLst>
  </p:cmAuthor>
  <p:cmAuthor id="14" name="Guillaume Noé" initials="GN" lastIdx="2" clrIdx="13">
    <p:extLst>
      <p:ext uri="{19B8F6BF-5375-455C-9EA6-DF929625EA0E}">
        <p15:presenceInfo xmlns:p15="http://schemas.microsoft.com/office/powerpoint/2012/main" userId="S::guillaume.noe@avanade.com::2f3c85c6-4f12-43d9-94a0-b6d097b6159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66"/>
    <a:srgbClr val="CCFF66"/>
    <a:srgbClr val="FFFF66"/>
    <a:srgbClr val="008000"/>
    <a:srgbClr val="FBEBED"/>
    <a:srgbClr val="CE056A"/>
    <a:srgbClr val="FEDEEE"/>
    <a:srgbClr val="FF5800"/>
    <a:srgbClr val="FFF0E7"/>
    <a:srgbClr val="FDE7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A75332F-1BFD-404E-A6BB-E8DD85578502}" vWet="2" dt="2022-08-15T05:07:54.992"/>
    <p1510:client id="{90D5002B-0DD2-413C-9E2B-7AC1616BEE6F}" v="1407" dt="2022-08-15T05:28:52.22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9" d="100"/>
          <a:sy n="59" d="100"/>
        </p:scale>
        <p:origin x="868" y="60"/>
      </p:cViewPr>
      <p:guideLst>
        <p:guide pos="7423"/>
        <p:guide orient="horz" pos="3884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23" Type="http://schemas.microsoft.com/office/2016/11/relationships/changesInfo" Target="changesInfos/changesInfo1.xml"/><Relationship Id="rId10" Type="http://schemas.openxmlformats.org/officeDocument/2006/relationships/slide" Target="slides/slide2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uliana Bachtold" userId="d60acc4b-46f0-49bf-8ba0-76b0e2d8b5c5" providerId="ADAL" clId="{90D5002B-0DD2-413C-9E2B-7AC1616BEE6F}"/>
    <pc:docChg chg="undo custSel modSld">
      <pc:chgData name="Juliana Bachtold" userId="d60acc4b-46f0-49bf-8ba0-76b0e2d8b5c5" providerId="ADAL" clId="{90D5002B-0DD2-413C-9E2B-7AC1616BEE6F}" dt="2022-08-15T05:28:52.220" v="337" actId="115"/>
      <pc:docMkLst>
        <pc:docMk/>
      </pc:docMkLst>
      <pc:sldChg chg="modSp mod">
        <pc:chgData name="Juliana Bachtold" userId="d60acc4b-46f0-49bf-8ba0-76b0e2d8b5c5" providerId="ADAL" clId="{90D5002B-0DD2-413C-9E2B-7AC1616BEE6F}" dt="2022-08-14T23:58:25.910" v="1" actId="14734"/>
        <pc:sldMkLst>
          <pc:docMk/>
          <pc:sldMk cId="1748083553" sldId="2147470462"/>
        </pc:sldMkLst>
        <pc:graphicFrameChg chg="modGraphic">
          <ac:chgData name="Juliana Bachtold" userId="d60acc4b-46f0-49bf-8ba0-76b0e2d8b5c5" providerId="ADAL" clId="{90D5002B-0DD2-413C-9E2B-7AC1616BEE6F}" dt="2022-08-14T23:58:25.910" v="1" actId="14734"/>
          <ac:graphicFrameMkLst>
            <pc:docMk/>
            <pc:sldMk cId="1748083553" sldId="2147470462"/>
            <ac:graphicFrameMk id="28" creationId="{9F5F7011-A563-9DAF-23F2-226FD15E8FC9}"/>
          </ac:graphicFrameMkLst>
        </pc:graphicFrameChg>
      </pc:sldChg>
      <pc:sldChg chg="addSp modSp mod">
        <pc:chgData name="Juliana Bachtold" userId="d60acc4b-46f0-49bf-8ba0-76b0e2d8b5c5" providerId="ADAL" clId="{90D5002B-0DD2-413C-9E2B-7AC1616BEE6F}" dt="2022-08-15T05:28:52.220" v="337" actId="115"/>
        <pc:sldMkLst>
          <pc:docMk/>
          <pc:sldMk cId="3060589194" sldId="2147470463"/>
        </pc:sldMkLst>
        <pc:spChg chg="add mod">
          <ac:chgData name="Juliana Bachtold" userId="d60acc4b-46f0-49bf-8ba0-76b0e2d8b5c5" providerId="ADAL" clId="{90D5002B-0DD2-413C-9E2B-7AC1616BEE6F}" dt="2022-08-15T05:28:52.220" v="337" actId="115"/>
          <ac:spMkLst>
            <pc:docMk/>
            <pc:sldMk cId="3060589194" sldId="2147470463"/>
            <ac:spMk id="3" creationId="{F8A938E1-971A-88D1-73EA-2CF8E3438804}"/>
          </ac:spMkLst>
        </pc:spChg>
        <pc:graphicFrameChg chg="mod modGraphic">
          <ac:chgData name="Juliana Bachtold" userId="d60acc4b-46f0-49bf-8ba0-76b0e2d8b5c5" providerId="ADAL" clId="{90D5002B-0DD2-413C-9E2B-7AC1616BEE6F}" dt="2022-08-15T05:24:21.221" v="73" actId="14100"/>
          <ac:graphicFrameMkLst>
            <pc:docMk/>
            <pc:sldMk cId="3060589194" sldId="2147470463"/>
            <ac:graphicFrameMk id="4" creationId="{983BA6FF-AB8E-8AEE-15B6-AE23E1AE9B9D}"/>
          </ac:graphicFrameMkLst>
        </pc:graphicFrameChg>
      </pc:sldChg>
    </pc:docChg>
  </pc:docChgLst>
  <pc:docChgLst>
    <pc:chgData name="Juliana Bächtold" userId="42036acf-0ef8-4b7a-b5b1-f26c6f64563f" providerId="ADAL" clId="{90D5002B-0DD2-413C-9E2B-7AC1616BEE6F}"/>
    <pc:docChg chg="undo custSel addSld delSld modSld sldOrd modSection">
      <pc:chgData name="Juliana Bächtold" userId="42036acf-0ef8-4b7a-b5b1-f26c6f64563f" providerId="ADAL" clId="{90D5002B-0DD2-413C-9E2B-7AC1616BEE6F}" dt="2022-08-15T05:10:37.277" v="1469" actId="14100"/>
      <pc:docMkLst>
        <pc:docMk/>
      </pc:docMkLst>
      <pc:sldChg chg="modSp mod">
        <pc:chgData name="Juliana Bächtold" userId="42036acf-0ef8-4b7a-b5b1-f26c6f64563f" providerId="ADAL" clId="{90D5002B-0DD2-413C-9E2B-7AC1616BEE6F}" dt="2022-08-11T00:29:04.032" v="26" actId="20577"/>
        <pc:sldMkLst>
          <pc:docMk/>
          <pc:sldMk cId="4118100888" sldId="2146845808"/>
        </pc:sldMkLst>
        <pc:spChg chg="mod">
          <ac:chgData name="Juliana Bächtold" userId="42036acf-0ef8-4b7a-b5b1-f26c6f64563f" providerId="ADAL" clId="{90D5002B-0DD2-413C-9E2B-7AC1616BEE6F}" dt="2022-08-11T00:29:04.032" v="26" actId="20577"/>
          <ac:spMkLst>
            <pc:docMk/>
            <pc:sldMk cId="4118100888" sldId="2146845808"/>
            <ac:spMk id="11" creationId="{6DDEEFC6-C43D-4558-AC36-A887E86E2F0F}"/>
          </ac:spMkLst>
        </pc:spChg>
      </pc:sldChg>
      <pc:sldChg chg="addSp delSp modSp mod">
        <pc:chgData name="Juliana Bächtold" userId="42036acf-0ef8-4b7a-b5b1-f26c6f64563f" providerId="ADAL" clId="{90D5002B-0DD2-413C-9E2B-7AC1616BEE6F}" dt="2022-08-11T03:47:01.287" v="1303" actId="1076"/>
        <pc:sldMkLst>
          <pc:docMk/>
          <pc:sldMk cId="1386769039" sldId="2147470456"/>
        </pc:sldMkLst>
        <pc:spChg chg="add mod">
          <ac:chgData name="Juliana Bächtold" userId="42036acf-0ef8-4b7a-b5b1-f26c6f64563f" providerId="ADAL" clId="{90D5002B-0DD2-413C-9E2B-7AC1616BEE6F}" dt="2022-08-11T03:17:40.473" v="969" actId="14100"/>
          <ac:spMkLst>
            <pc:docMk/>
            <pc:sldMk cId="1386769039" sldId="2147470456"/>
            <ac:spMk id="4" creationId="{ABF1ADEE-FEED-D2DE-C360-BD0889AF6A1E}"/>
          </ac:spMkLst>
        </pc:spChg>
        <pc:spChg chg="mod">
          <ac:chgData name="Juliana Bächtold" userId="42036acf-0ef8-4b7a-b5b1-f26c6f64563f" providerId="ADAL" clId="{90D5002B-0DD2-413C-9E2B-7AC1616BEE6F}" dt="2022-08-11T01:58:29.867" v="382" actId="313"/>
          <ac:spMkLst>
            <pc:docMk/>
            <pc:sldMk cId="1386769039" sldId="2147470456"/>
            <ac:spMk id="6" creationId="{ADD7D3D0-A076-4CAC-8EBC-578C414319BE}"/>
          </ac:spMkLst>
        </pc:spChg>
        <pc:spChg chg="add del mod">
          <ac:chgData name="Juliana Bächtold" userId="42036acf-0ef8-4b7a-b5b1-f26c6f64563f" providerId="ADAL" clId="{90D5002B-0DD2-413C-9E2B-7AC1616BEE6F}" dt="2022-08-11T03:18:21.315" v="983" actId="21"/>
          <ac:spMkLst>
            <pc:docMk/>
            <pc:sldMk cId="1386769039" sldId="2147470456"/>
            <ac:spMk id="16" creationId="{B12A2766-12B8-2FF9-BF80-B3075E6F45D7}"/>
          </ac:spMkLst>
        </pc:spChg>
        <pc:spChg chg="add del mod">
          <ac:chgData name="Juliana Bächtold" userId="42036acf-0ef8-4b7a-b5b1-f26c6f64563f" providerId="ADAL" clId="{90D5002B-0DD2-413C-9E2B-7AC1616BEE6F}" dt="2022-08-11T03:18:32.037" v="985" actId="21"/>
          <ac:spMkLst>
            <pc:docMk/>
            <pc:sldMk cId="1386769039" sldId="2147470456"/>
            <ac:spMk id="17" creationId="{ABE45003-68B3-E3D5-84D8-8FEB7902574F}"/>
          </ac:spMkLst>
        </pc:spChg>
        <pc:spChg chg="add del">
          <ac:chgData name="Juliana Bächtold" userId="42036acf-0ef8-4b7a-b5b1-f26c6f64563f" providerId="ADAL" clId="{90D5002B-0DD2-413C-9E2B-7AC1616BEE6F}" dt="2022-08-11T03:19:13.352" v="988" actId="478"/>
          <ac:spMkLst>
            <pc:docMk/>
            <pc:sldMk cId="1386769039" sldId="2147470456"/>
            <ac:spMk id="19" creationId="{7D6A24F9-4D84-5594-F612-6AA94B8DF905}"/>
          </ac:spMkLst>
        </pc:spChg>
        <pc:spChg chg="add mod">
          <ac:chgData name="Juliana Bächtold" userId="42036acf-0ef8-4b7a-b5b1-f26c6f64563f" providerId="ADAL" clId="{90D5002B-0DD2-413C-9E2B-7AC1616BEE6F}" dt="2022-08-11T03:47:01.287" v="1303" actId="1076"/>
          <ac:spMkLst>
            <pc:docMk/>
            <pc:sldMk cId="1386769039" sldId="2147470456"/>
            <ac:spMk id="21" creationId="{29AF858B-D9D4-6641-0501-B3A2B2F9E89F}"/>
          </ac:spMkLst>
        </pc:spChg>
        <pc:graphicFrameChg chg="add del mod modGraphic">
          <ac:chgData name="Juliana Bächtold" userId="42036acf-0ef8-4b7a-b5b1-f26c6f64563f" providerId="ADAL" clId="{90D5002B-0DD2-413C-9E2B-7AC1616BEE6F}" dt="2022-08-11T02:06:35.426" v="531" actId="478"/>
          <ac:graphicFrameMkLst>
            <pc:docMk/>
            <pc:sldMk cId="1386769039" sldId="2147470456"/>
            <ac:graphicFrameMk id="2" creationId="{6E891EDB-7B08-B514-251C-1423E0CE04BF}"/>
          </ac:graphicFrameMkLst>
        </pc:graphicFrameChg>
        <pc:graphicFrameChg chg="add mod modGraphic">
          <ac:chgData name="Juliana Bächtold" userId="42036acf-0ef8-4b7a-b5b1-f26c6f64563f" providerId="ADAL" clId="{90D5002B-0DD2-413C-9E2B-7AC1616BEE6F}" dt="2022-08-11T03:38:53.509" v="1285" actId="404"/>
          <ac:graphicFrameMkLst>
            <pc:docMk/>
            <pc:sldMk cId="1386769039" sldId="2147470456"/>
            <ac:graphicFrameMk id="3" creationId="{39ABC60A-E0D2-33E5-AC2E-E375B519FF52}"/>
          </ac:graphicFrameMkLst>
        </pc:graphicFrameChg>
        <pc:graphicFrameChg chg="add del mod modGraphic">
          <ac:chgData name="Juliana Bächtold" userId="42036acf-0ef8-4b7a-b5b1-f26c6f64563f" providerId="ADAL" clId="{90D5002B-0DD2-413C-9E2B-7AC1616BEE6F}" dt="2022-08-11T02:41:33.025" v="840" actId="478"/>
          <ac:graphicFrameMkLst>
            <pc:docMk/>
            <pc:sldMk cId="1386769039" sldId="2147470456"/>
            <ac:graphicFrameMk id="12" creationId="{A467F991-75B9-3159-E48F-9A59105A83D9}"/>
          </ac:graphicFrameMkLst>
        </pc:graphicFrameChg>
        <pc:graphicFrameChg chg="del modGraphic">
          <ac:chgData name="Juliana Bächtold" userId="42036acf-0ef8-4b7a-b5b1-f26c6f64563f" providerId="ADAL" clId="{90D5002B-0DD2-413C-9E2B-7AC1616BEE6F}" dt="2022-08-11T01:52:00.490" v="354" actId="478"/>
          <ac:graphicFrameMkLst>
            <pc:docMk/>
            <pc:sldMk cId="1386769039" sldId="2147470456"/>
            <ac:graphicFrameMk id="28" creationId="{9F5F7011-A563-9DAF-23F2-226FD15E8FC9}"/>
          </ac:graphicFrameMkLst>
        </pc:graphicFrameChg>
      </pc:sldChg>
      <pc:sldChg chg="del">
        <pc:chgData name="Juliana Bächtold" userId="42036acf-0ef8-4b7a-b5b1-f26c6f64563f" providerId="ADAL" clId="{90D5002B-0DD2-413C-9E2B-7AC1616BEE6F}" dt="2022-08-11T00:29:06.836" v="27" actId="47"/>
        <pc:sldMkLst>
          <pc:docMk/>
          <pc:sldMk cId="1627358404" sldId="2147470457"/>
        </pc:sldMkLst>
      </pc:sldChg>
      <pc:sldChg chg="del">
        <pc:chgData name="Juliana Bächtold" userId="42036acf-0ef8-4b7a-b5b1-f26c6f64563f" providerId="ADAL" clId="{90D5002B-0DD2-413C-9E2B-7AC1616BEE6F}" dt="2022-08-11T00:29:09.942" v="28" actId="47"/>
        <pc:sldMkLst>
          <pc:docMk/>
          <pc:sldMk cId="2493293888" sldId="2147470458"/>
        </pc:sldMkLst>
      </pc:sldChg>
      <pc:sldChg chg="addSp delSp modSp add del mod">
        <pc:chgData name="Juliana Bächtold" userId="42036acf-0ef8-4b7a-b5b1-f26c6f64563f" providerId="ADAL" clId="{90D5002B-0DD2-413C-9E2B-7AC1616BEE6F}" dt="2022-08-11T03:39:34.103" v="1294" actId="14100"/>
        <pc:sldMkLst>
          <pc:docMk/>
          <pc:sldMk cId="3920466892" sldId="2147470459"/>
        </pc:sldMkLst>
        <pc:spChg chg="add mod">
          <ac:chgData name="Juliana Bächtold" userId="42036acf-0ef8-4b7a-b5b1-f26c6f64563f" providerId="ADAL" clId="{90D5002B-0DD2-413C-9E2B-7AC1616BEE6F}" dt="2022-08-11T03:39:34.103" v="1294" actId="14100"/>
          <ac:spMkLst>
            <pc:docMk/>
            <pc:sldMk cId="3920466892" sldId="2147470459"/>
            <ac:spMk id="3" creationId="{9F476349-2639-9019-FBFE-72B249EA5DE6}"/>
          </ac:spMkLst>
        </pc:spChg>
        <pc:spChg chg="del">
          <ac:chgData name="Juliana Bächtold" userId="42036acf-0ef8-4b7a-b5b1-f26c6f64563f" providerId="ADAL" clId="{90D5002B-0DD2-413C-9E2B-7AC1616BEE6F}" dt="2022-08-11T00:33:16.956" v="109" actId="478"/>
          <ac:spMkLst>
            <pc:docMk/>
            <pc:sldMk cId="3920466892" sldId="2147470459"/>
            <ac:spMk id="4" creationId="{FB0E6601-D796-4960-1750-63D184C62F26}"/>
          </ac:spMkLst>
        </pc:spChg>
        <pc:graphicFrameChg chg="mod modGraphic">
          <ac:chgData name="Juliana Bächtold" userId="42036acf-0ef8-4b7a-b5b1-f26c6f64563f" providerId="ADAL" clId="{90D5002B-0DD2-413C-9E2B-7AC1616BEE6F}" dt="2022-08-11T01:58:53.013" v="386" actId="20577"/>
          <ac:graphicFrameMkLst>
            <pc:docMk/>
            <pc:sldMk cId="3920466892" sldId="2147470459"/>
            <ac:graphicFrameMk id="2" creationId="{062258C8-6C3A-53EB-9186-4F2441367F63}"/>
          </ac:graphicFrameMkLst>
        </pc:graphicFrameChg>
      </pc:sldChg>
      <pc:sldChg chg="del">
        <pc:chgData name="Juliana Bächtold" userId="42036acf-0ef8-4b7a-b5b1-f26c6f64563f" providerId="ADAL" clId="{90D5002B-0DD2-413C-9E2B-7AC1616BEE6F}" dt="2022-08-11T00:29:09.942" v="28" actId="47"/>
        <pc:sldMkLst>
          <pc:docMk/>
          <pc:sldMk cId="540546277" sldId="2147470460"/>
        </pc:sldMkLst>
      </pc:sldChg>
      <pc:sldChg chg="addSp delSp modSp mod ord modNotesTx">
        <pc:chgData name="Juliana Bächtold" userId="42036acf-0ef8-4b7a-b5b1-f26c6f64563f" providerId="ADAL" clId="{90D5002B-0DD2-413C-9E2B-7AC1616BEE6F}" dt="2022-08-11T03:53:31.970" v="1417" actId="14100"/>
        <pc:sldMkLst>
          <pc:docMk/>
          <pc:sldMk cId="2308514240" sldId="2147470461"/>
        </pc:sldMkLst>
        <pc:spChg chg="mod">
          <ac:chgData name="Juliana Bächtold" userId="42036acf-0ef8-4b7a-b5b1-f26c6f64563f" providerId="ADAL" clId="{90D5002B-0DD2-413C-9E2B-7AC1616BEE6F}" dt="2022-08-11T03:24:32.713" v="1116" actId="20577"/>
          <ac:spMkLst>
            <pc:docMk/>
            <pc:sldMk cId="2308514240" sldId="2147470461"/>
            <ac:spMk id="6" creationId="{ADD7D3D0-A076-4CAC-8EBC-578C414319BE}"/>
          </ac:spMkLst>
        </pc:spChg>
        <pc:spChg chg="del">
          <ac:chgData name="Juliana Bächtold" userId="42036acf-0ef8-4b7a-b5b1-f26c6f64563f" providerId="ADAL" clId="{90D5002B-0DD2-413C-9E2B-7AC1616BEE6F}" dt="2022-08-11T03:23:37.410" v="1103" actId="478"/>
          <ac:spMkLst>
            <pc:docMk/>
            <pc:sldMk cId="2308514240" sldId="2147470461"/>
            <ac:spMk id="9" creationId="{E6B9AD99-DC68-6CD6-A58D-FC26DF22FC33}"/>
          </ac:spMkLst>
        </pc:spChg>
        <pc:spChg chg="del">
          <ac:chgData name="Juliana Bächtold" userId="42036acf-0ef8-4b7a-b5b1-f26c6f64563f" providerId="ADAL" clId="{90D5002B-0DD2-413C-9E2B-7AC1616BEE6F}" dt="2022-08-11T03:23:38.909" v="1104" actId="478"/>
          <ac:spMkLst>
            <pc:docMk/>
            <pc:sldMk cId="2308514240" sldId="2147470461"/>
            <ac:spMk id="10" creationId="{8E6126B5-3B20-2DDF-8876-00C8F301083F}"/>
          </ac:spMkLst>
        </pc:spChg>
        <pc:spChg chg="mod">
          <ac:chgData name="Juliana Bächtold" userId="42036acf-0ef8-4b7a-b5b1-f26c6f64563f" providerId="ADAL" clId="{90D5002B-0DD2-413C-9E2B-7AC1616BEE6F}" dt="2022-08-11T03:27:46.647" v="1178" actId="164"/>
          <ac:spMkLst>
            <pc:docMk/>
            <pc:sldMk cId="2308514240" sldId="2147470461"/>
            <ac:spMk id="11" creationId="{BA3AA84F-86E8-8895-7A4D-13A844AC9559}"/>
          </ac:spMkLst>
        </pc:spChg>
        <pc:spChg chg="mod">
          <ac:chgData name="Juliana Bächtold" userId="42036acf-0ef8-4b7a-b5b1-f26c6f64563f" providerId="ADAL" clId="{90D5002B-0DD2-413C-9E2B-7AC1616BEE6F}" dt="2022-08-11T03:27:46.647" v="1178" actId="164"/>
          <ac:spMkLst>
            <pc:docMk/>
            <pc:sldMk cId="2308514240" sldId="2147470461"/>
            <ac:spMk id="12" creationId="{155447E2-B8F4-E8A4-0812-4873E27CA757}"/>
          </ac:spMkLst>
        </pc:spChg>
        <pc:spChg chg="add del">
          <ac:chgData name="Juliana Bächtold" userId="42036acf-0ef8-4b7a-b5b1-f26c6f64563f" providerId="ADAL" clId="{90D5002B-0DD2-413C-9E2B-7AC1616BEE6F}" dt="2022-08-11T03:28:34.736" v="1183" actId="478"/>
          <ac:spMkLst>
            <pc:docMk/>
            <pc:sldMk cId="2308514240" sldId="2147470461"/>
            <ac:spMk id="20" creationId="{9F173C2C-DD39-4C13-99C8-AB101834AEF3}"/>
          </ac:spMkLst>
        </pc:spChg>
        <pc:spChg chg="del mod topLvl">
          <ac:chgData name="Juliana Bächtold" userId="42036acf-0ef8-4b7a-b5b1-f26c6f64563f" providerId="ADAL" clId="{90D5002B-0DD2-413C-9E2B-7AC1616BEE6F}" dt="2022-08-11T03:35:12.697" v="1270" actId="478"/>
          <ac:spMkLst>
            <pc:docMk/>
            <pc:sldMk cId="2308514240" sldId="2147470461"/>
            <ac:spMk id="21" creationId="{C33CDFB8-9E1F-8B38-8F53-B40A3BA68955}"/>
          </ac:spMkLst>
        </pc:spChg>
        <pc:spChg chg="mod">
          <ac:chgData name="Juliana Bächtold" userId="42036acf-0ef8-4b7a-b5b1-f26c6f64563f" providerId="ADAL" clId="{90D5002B-0DD2-413C-9E2B-7AC1616BEE6F}" dt="2022-08-11T03:51:59.335" v="1402" actId="20577"/>
          <ac:spMkLst>
            <pc:docMk/>
            <pc:sldMk cId="2308514240" sldId="2147470461"/>
            <ac:spMk id="22" creationId="{2D4FD5EF-B074-C665-26F1-FA1D50575028}"/>
          </ac:spMkLst>
        </pc:spChg>
        <pc:spChg chg="del mod topLvl">
          <ac:chgData name="Juliana Bächtold" userId="42036acf-0ef8-4b7a-b5b1-f26c6f64563f" providerId="ADAL" clId="{90D5002B-0DD2-413C-9E2B-7AC1616BEE6F}" dt="2022-08-11T03:34:12.022" v="1261" actId="478"/>
          <ac:spMkLst>
            <pc:docMk/>
            <pc:sldMk cId="2308514240" sldId="2147470461"/>
            <ac:spMk id="23" creationId="{EC2C4C4A-27F3-DF3C-0155-94CA11F7C2E5}"/>
          </ac:spMkLst>
        </pc:spChg>
        <pc:spChg chg="mod ord topLvl">
          <ac:chgData name="Juliana Bächtold" userId="42036acf-0ef8-4b7a-b5b1-f26c6f64563f" providerId="ADAL" clId="{90D5002B-0DD2-413C-9E2B-7AC1616BEE6F}" dt="2022-08-11T03:51:28.900" v="1369" actId="1035"/>
          <ac:spMkLst>
            <pc:docMk/>
            <pc:sldMk cId="2308514240" sldId="2147470461"/>
            <ac:spMk id="25" creationId="{A7403526-354B-8570-80DF-1662FE48B984}"/>
          </ac:spMkLst>
        </pc:spChg>
        <pc:spChg chg="mod ord topLvl">
          <ac:chgData name="Juliana Bächtold" userId="42036acf-0ef8-4b7a-b5b1-f26c6f64563f" providerId="ADAL" clId="{90D5002B-0DD2-413C-9E2B-7AC1616BEE6F}" dt="2022-08-11T03:51:28.900" v="1369" actId="1035"/>
          <ac:spMkLst>
            <pc:docMk/>
            <pc:sldMk cId="2308514240" sldId="2147470461"/>
            <ac:spMk id="26" creationId="{5BAB9A94-6504-2064-DEF0-1BBDE945BFBF}"/>
          </ac:spMkLst>
        </pc:spChg>
        <pc:spChg chg="mod">
          <ac:chgData name="Juliana Bächtold" userId="42036acf-0ef8-4b7a-b5b1-f26c6f64563f" providerId="ADAL" clId="{90D5002B-0DD2-413C-9E2B-7AC1616BEE6F}" dt="2022-08-11T03:51:28.900" v="1369" actId="1035"/>
          <ac:spMkLst>
            <pc:docMk/>
            <pc:sldMk cId="2308514240" sldId="2147470461"/>
            <ac:spMk id="27" creationId="{1AD0756C-B1A1-661F-1C63-70AD915071D4}"/>
          </ac:spMkLst>
        </pc:spChg>
        <pc:spChg chg="add mod">
          <ac:chgData name="Juliana Bächtold" userId="42036acf-0ef8-4b7a-b5b1-f26c6f64563f" providerId="ADAL" clId="{90D5002B-0DD2-413C-9E2B-7AC1616BEE6F}" dt="2022-08-11T03:51:28.900" v="1369" actId="1035"/>
          <ac:spMkLst>
            <pc:docMk/>
            <pc:sldMk cId="2308514240" sldId="2147470461"/>
            <ac:spMk id="29" creationId="{BB47AC53-55BD-890D-0DCA-08C15C04BBC3}"/>
          </ac:spMkLst>
        </pc:spChg>
        <pc:spChg chg="add mod">
          <ac:chgData name="Juliana Bächtold" userId="42036acf-0ef8-4b7a-b5b1-f26c6f64563f" providerId="ADAL" clId="{90D5002B-0DD2-413C-9E2B-7AC1616BEE6F}" dt="2022-08-11T03:51:28.900" v="1369" actId="1035"/>
          <ac:spMkLst>
            <pc:docMk/>
            <pc:sldMk cId="2308514240" sldId="2147470461"/>
            <ac:spMk id="30" creationId="{5AB9CCC4-C1D2-934B-8A08-6321109E6A4C}"/>
          </ac:spMkLst>
        </pc:spChg>
        <pc:spChg chg="add del">
          <ac:chgData name="Juliana Bächtold" userId="42036acf-0ef8-4b7a-b5b1-f26c6f64563f" providerId="ADAL" clId="{90D5002B-0DD2-413C-9E2B-7AC1616BEE6F}" dt="2022-08-11T03:08:34.618" v="958" actId="22"/>
          <ac:spMkLst>
            <pc:docMk/>
            <pc:sldMk cId="2308514240" sldId="2147470461"/>
            <ac:spMk id="31" creationId="{1EAFB73F-B6C8-1E98-B2A9-3B2302888500}"/>
          </ac:spMkLst>
        </pc:spChg>
        <pc:spChg chg="add del mod">
          <ac:chgData name="Juliana Bächtold" userId="42036acf-0ef8-4b7a-b5b1-f26c6f64563f" providerId="ADAL" clId="{90D5002B-0DD2-413C-9E2B-7AC1616BEE6F}" dt="2022-08-11T03:24:22.591" v="1108" actId="21"/>
          <ac:spMkLst>
            <pc:docMk/>
            <pc:sldMk cId="2308514240" sldId="2147470461"/>
            <ac:spMk id="33" creationId="{0C223BE7-1341-F19F-7500-D3329C2AE56D}"/>
          </ac:spMkLst>
        </pc:spChg>
        <pc:spChg chg="add mod">
          <ac:chgData name="Juliana Bächtold" userId="42036acf-0ef8-4b7a-b5b1-f26c6f64563f" providerId="ADAL" clId="{90D5002B-0DD2-413C-9E2B-7AC1616BEE6F}" dt="2022-08-11T03:40:18.865" v="1299" actId="20577"/>
          <ac:spMkLst>
            <pc:docMk/>
            <pc:sldMk cId="2308514240" sldId="2147470461"/>
            <ac:spMk id="34" creationId="{67DF9DE5-0477-2C69-1EEC-058CEBAE67AA}"/>
          </ac:spMkLst>
        </pc:spChg>
        <pc:spChg chg="add mod">
          <ac:chgData name="Juliana Bächtold" userId="42036acf-0ef8-4b7a-b5b1-f26c6f64563f" providerId="ADAL" clId="{90D5002B-0DD2-413C-9E2B-7AC1616BEE6F}" dt="2022-08-11T03:51:28.900" v="1369" actId="1035"/>
          <ac:spMkLst>
            <pc:docMk/>
            <pc:sldMk cId="2308514240" sldId="2147470461"/>
            <ac:spMk id="40" creationId="{574D10F9-190F-DC6D-5D52-A160EEE42FA7}"/>
          </ac:spMkLst>
        </pc:spChg>
        <pc:spChg chg="add mod">
          <ac:chgData name="Juliana Bächtold" userId="42036acf-0ef8-4b7a-b5b1-f26c6f64563f" providerId="ADAL" clId="{90D5002B-0DD2-413C-9E2B-7AC1616BEE6F}" dt="2022-08-11T03:51:28.900" v="1369" actId="1035"/>
          <ac:spMkLst>
            <pc:docMk/>
            <pc:sldMk cId="2308514240" sldId="2147470461"/>
            <ac:spMk id="41" creationId="{AAA820B0-6E8E-01C9-3CAF-F70C421A4FBA}"/>
          </ac:spMkLst>
        </pc:spChg>
        <pc:spChg chg="add mod">
          <ac:chgData name="Juliana Bächtold" userId="42036acf-0ef8-4b7a-b5b1-f26c6f64563f" providerId="ADAL" clId="{90D5002B-0DD2-413C-9E2B-7AC1616BEE6F}" dt="2022-08-11T03:51:28.900" v="1369" actId="1035"/>
          <ac:spMkLst>
            <pc:docMk/>
            <pc:sldMk cId="2308514240" sldId="2147470461"/>
            <ac:spMk id="42" creationId="{D6561D3A-94F9-8B3F-CAC3-19A318FF1B41}"/>
          </ac:spMkLst>
        </pc:spChg>
        <pc:spChg chg="add mod">
          <ac:chgData name="Juliana Bächtold" userId="42036acf-0ef8-4b7a-b5b1-f26c6f64563f" providerId="ADAL" clId="{90D5002B-0DD2-413C-9E2B-7AC1616BEE6F}" dt="2022-08-11T03:51:28.900" v="1369" actId="1035"/>
          <ac:spMkLst>
            <pc:docMk/>
            <pc:sldMk cId="2308514240" sldId="2147470461"/>
            <ac:spMk id="43" creationId="{1416E8DC-92FF-C302-BA55-08337B8AECAA}"/>
          </ac:spMkLst>
        </pc:spChg>
        <pc:spChg chg="add mod">
          <ac:chgData name="Juliana Bächtold" userId="42036acf-0ef8-4b7a-b5b1-f26c6f64563f" providerId="ADAL" clId="{90D5002B-0DD2-413C-9E2B-7AC1616BEE6F}" dt="2022-08-11T03:51:28.900" v="1369" actId="1035"/>
          <ac:spMkLst>
            <pc:docMk/>
            <pc:sldMk cId="2308514240" sldId="2147470461"/>
            <ac:spMk id="44" creationId="{2DF2B6B0-3C5C-916C-DF7D-09D7E78B190D}"/>
          </ac:spMkLst>
        </pc:spChg>
        <pc:spChg chg="add mod">
          <ac:chgData name="Juliana Bächtold" userId="42036acf-0ef8-4b7a-b5b1-f26c6f64563f" providerId="ADAL" clId="{90D5002B-0DD2-413C-9E2B-7AC1616BEE6F}" dt="2022-08-11T03:53:31.970" v="1417" actId="14100"/>
          <ac:spMkLst>
            <pc:docMk/>
            <pc:sldMk cId="2308514240" sldId="2147470461"/>
            <ac:spMk id="46" creationId="{EA64A01F-BA09-FBFD-0612-86D4D1889051}"/>
          </ac:spMkLst>
        </pc:spChg>
        <pc:grpChg chg="add del mod">
          <ac:chgData name="Juliana Bächtold" userId="42036acf-0ef8-4b7a-b5b1-f26c6f64563f" providerId="ADAL" clId="{90D5002B-0DD2-413C-9E2B-7AC1616BEE6F}" dt="2022-08-11T03:36:16.853" v="1278" actId="478"/>
          <ac:grpSpMkLst>
            <pc:docMk/>
            <pc:sldMk cId="2308514240" sldId="2147470461"/>
            <ac:grpSpMk id="17" creationId="{B06227D6-EBB7-237F-C80A-4508E65CD967}"/>
          </ac:grpSpMkLst>
        </pc:grpChg>
        <pc:grpChg chg="add del mod">
          <ac:chgData name="Juliana Bächtold" userId="42036acf-0ef8-4b7a-b5b1-f26c6f64563f" providerId="ADAL" clId="{90D5002B-0DD2-413C-9E2B-7AC1616BEE6F}" dt="2022-08-11T03:34:33.891" v="1263" actId="165"/>
          <ac:grpSpMkLst>
            <pc:docMk/>
            <pc:sldMk cId="2308514240" sldId="2147470461"/>
            <ac:grpSpMk id="18" creationId="{F1427DF8-D953-D23B-8A19-A09BADCF6EC5}"/>
          </ac:grpSpMkLst>
        </pc:grpChg>
        <pc:grpChg chg="add del mod">
          <ac:chgData name="Juliana Bächtold" userId="42036acf-0ef8-4b7a-b5b1-f26c6f64563f" providerId="ADAL" clId="{90D5002B-0DD2-413C-9E2B-7AC1616BEE6F}" dt="2022-08-11T03:32:23.767" v="1220" actId="165"/>
          <ac:grpSpMkLst>
            <pc:docMk/>
            <pc:sldMk cId="2308514240" sldId="2147470461"/>
            <ac:grpSpMk id="19" creationId="{2FB50888-A0FD-9453-DE3D-0BF08E6FC705}"/>
          </ac:grpSpMkLst>
        </pc:grpChg>
        <pc:graphicFrameChg chg="del mod">
          <ac:chgData name="Juliana Bächtold" userId="42036acf-0ef8-4b7a-b5b1-f26c6f64563f" providerId="ADAL" clId="{90D5002B-0DD2-413C-9E2B-7AC1616BEE6F}" dt="2022-08-11T03:23:35.434" v="1102" actId="478"/>
          <ac:graphicFrameMkLst>
            <pc:docMk/>
            <pc:sldMk cId="2308514240" sldId="2147470461"/>
            <ac:graphicFrameMk id="8" creationId="{BC84C164-825C-F7FE-6F3D-52C14C9858DA}"/>
          </ac:graphicFrameMkLst>
        </pc:graphicFrameChg>
      </pc:sldChg>
      <pc:sldChg chg="modSp add mod">
        <pc:chgData name="Juliana Bächtold" userId="42036acf-0ef8-4b7a-b5b1-f26c6f64563f" providerId="ADAL" clId="{90D5002B-0DD2-413C-9E2B-7AC1616BEE6F}" dt="2022-08-11T03:02:37.976" v="951" actId="12385"/>
        <pc:sldMkLst>
          <pc:docMk/>
          <pc:sldMk cId="1748083553" sldId="2147470462"/>
        </pc:sldMkLst>
        <pc:graphicFrameChg chg="modGraphic">
          <ac:chgData name="Juliana Bächtold" userId="42036acf-0ef8-4b7a-b5b1-f26c6f64563f" providerId="ADAL" clId="{90D5002B-0DD2-413C-9E2B-7AC1616BEE6F}" dt="2022-08-11T03:02:37.976" v="951" actId="12385"/>
          <ac:graphicFrameMkLst>
            <pc:docMk/>
            <pc:sldMk cId="1748083553" sldId="2147470462"/>
            <ac:graphicFrameMk id="28" creationId="{9F5F7011-A563-9DAF-23F2-226FD15E8FC9}"/>
          </ac:graphicFrameMkLst>
        </pc:graphicFrameChg>
      </pc:sldChg>
      <pc:sldChg chg="del">
        <pc:chgData name="Juliana Bächtold" userId="42036acf-0ef8-4b7a-b5b1-f26c6f64563f" providerId="ADAL" clId="{90D5002B-0DD2-413C-9E2B-7AC1616BEE6F}" dt="2022-08-11T00:29:09.942" v="28" actId="47"/>
        <pc:sldMkLst>
          <pc:docMk/>
          <pc:sldMk cId="4221500222" sldId="2147470462"/>
        </pc:sldMkLst>
      </pc:sldChg>
      <pc:sldChg chg="addSp delSp modSp new mod ord">
        <pc:chgData name="Juliana Bächtold" userId="42036acf-0ef8-4b7a-b5b1-f26c6f64563f" providerId="ADAL" clId="{90D5002B-0DD2-413C-9E2B-7AC1616BEE6F}" dt="2022-08-15T05:10:37.277" v="1469" actId="14100"/>
        <pc:sldMkLst>
          <pc:docMk/>
          <pc:sldMk cId="3060589194" sldId="2147470463"/>
        </pc:sldMkLst>
        <pc:spChg chg="mod">
          <ac:chgData name="Juliana Bächtold" userId="42036acf-0ef8-4b7a-b5b1-f26c6f64563f" providerId="ADAL" clId="{90D5002B-0DD2-413C-9E2B-7AC1616BEE6F}" dt="2022-08-15T05:08:03.858" v="1446" actId="20577"/>
          <ac:spMkLst>
            <pc:docMk/>
            <pc:sldMk cId="3060589194" sldId="2147470463"/>
            <ac:spMk id="2" creationId="{8FC64BA2-41A6-43BA-58BF-771C24DE8E04}"/>
          </ac:spMkLst>
        </pc:spChg>
        <pc:spChg chg="del">
          <ac:chgData name="Juliana Bächtold" userId="42036acf-0ef8-4b7a-b5b1-f26c6f64563f" providerId="ADAL" clId="{90D5002B-0DD2-413C-9E2B-7AC1616BEE6F}" dt="2022-08-15T05:08:12.447" v="1448" actId="478"/>
          <ac:spMkLst>
            <pc:docMk/>
            <pc:sldMk cId="3060589194" sldId="2147470463"/>
            <ac:spMk id="3" creationId="{13ACAF5F-FC91-8656-68FC-231CE1C762E5}"/>
          </ac:spMkLst>
        </pc:spChg>
        <pc:graphicFrameChg chg="add mod modGraphic">
          <ac:chgData name="Juliana Bächtold" userId="42036acf-0ef8-4b7a-b5b1-f26c6f64563f" providerId="ADAL" clId="{90D5002B-0DD2-413C-9E2B-7AC1616BEE6F}" dt="2022-08-15T05:10:37.277" v="1469" actId="14100"/>
          <ac:graphicFrameMkLst>
            <pc:docMk/>
            <pc:sldMk cId="3060589194" sldId="2147470463"/>
            <ac:graphicFrameMk id="4" creationId="{983BA6FF-AB8E-8AEE-15B6-AE23E1AE9B9D}"/>
          </ac:graphicFrameMkLst>
        </pc:graphicFrameChg>
      </pc:sldChg>
      <pc:sldMasterChg chg="delSldLayout">
        <pc:chgData name="Juliana Bächtold" userId="42036acf-0ef8-4b7a-b5b1-f26c6f64563f" providerId="ADAL" clId="{90D5002B-0DD2-413C-9E2B-7AC1616BEE6F}" dt="2022-08-11T00:29:09.942" v="28" actId="47"/>
        <pc:sldMasterMkLst>
          <pc:docMk/>
          <pc:sldMasterMk cId="1695649461" sldId="2147483882"/>
        </pc:sldMasterMkLst>
        <pc:sldLayoutChg chg="del">
          <pc:chgData name="Juliana Bächtold" userId="42036acf-0ef8-4b7a-b5b1-f26c6f64563f" providerId="ADAL" clId="{90D5002B-0DD2-413C-9E2B-7AC1616BEE6F}" dt="2022-08-11T00:29:09.942" v="28" actId="47"/>
          <pc:sldLayoutMkLst>
            <pc:docMk/>
            <pc:sldMasterMk cId="1695649461" sldId="2147483882"/>
            <pc:sldLayoutMk cId="1468487813" sldId="2147483916"/>
          </pc:sldLayoutMkLst>
        </pc:sldLayoutChg>
      </pc:sldMasterChg>
    </pc:docChg>
  </pc:docChgLst>
  <pc:docChgLst>
    <pc:chgData name="Alex Bondarenko" userId="13ce5e32-3dab-4a17-85d0-dd28ac84fb45" providerId="ADAL" clId="{7A75332F-1BFD-404E-A6BB-E8DD85578502}"/>
    <pc:docChg chg="modSld">
      <pc:chgData name="Alex Bondarenko" userId="13ce5e32-3dab-4a17-85d0-dd28ac84fb45" providerId="ADAL" clId="{7A75332F-1BFD-404E-A6BB-E8DD85578502}" dt="2022-08-11T02:04:24.255" v="6" actId="20577"/>
      <pc:docMkLst>
        <pc:docMk/>
      </pc:docMkLst>
      <pc:sldChg chg="modSp">
        <pc:chgData name="Alex Bondarenko" userId="13ce5e32-3dab-4a17-85d0-dd28ac84fb45" providerId="ADAL" clId="{7A75332F-1BFD-404E-A6BB-E8DD85578502}" dt="2022-08-11T02:04:24.255" v="6" actId="20577"/>
        <pc:sldMkLst>
          <pc:docMk/>
          <pc:sldMk cId="1386769039" sldId="2147470456"/>
        </pc:sldMkLst>
        <pc:graphicFrameChg chg="mod">
          <ac:chgData name="Alex Bondarenko" userId="13ce5e32-3dab-4a17-85d0-dd28ac84fb45" providerId="ADAL" clId="{7A75332F-1BFD-404E-A6BB-E8DD85578502}" dt="2022-08-11T02:04:24.255" v="6" actId="20577"/>
          <ac:graphicFrameMkLst>
            <pc:docMk/>
            <pc:sldMk cId="1386769039" sldId="2147470456"/>
            <ac:graphicFrameMk id="2" creationId="{6E891EDB-7B08-B514-251C-1423E0CE04BF}"/>
          </ac:graphicFrameMkLst>
        </pc:graphicFrame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1437B1C-CD22-44D2-ABD1-B5B76CB58C9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5559" cy="502834"/>
          </a:xfrm>
          <a:prstGeom prst="rect">
            <a:avLst/>
          </a:prstGeom>
        </p:spPr>
        <p:txBody>
          <a:bodyPr vert="horz" lIns="97173" tIns="48587" rIns="97173" bIns="48587" rtlCol="0"/>
          <a:lstStyle>
            <a:lvl1pPr algn="l">
              <a:defRPr sz="1300"/>
            </a:lvl1pPr>
          </a:lstStyle>
          <a:p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7EA63F1-1712-4146-AD2B-D2DBE0B97E4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02597" y="1"/>
            <a:ext cx="2985559" cy="502834"/>
          </a:xfrm>
          <a:prstGeom prst="rect">
            <a:avLst/>
          </a:prstGeom>
        </p:spPr>
        <p:txBody>
          <a:bodyPr vert="horz" lIns="97173" tIns="48587" rIns="97173" bIns="48587" rtlCol="0"/>
          <a:lstStyle>
            <a:lvl1pPr algn="r">
              <a:defRPr sz="1300"/>
            </a:lvl1pPr>
          </a:lstStyle>
          <a:p>
            <a:fld id="{9B67C320-D9A7-4448-92D3-F1B708B39680}" type="datetimeFigureOut">
              <a:rPr lang="en-AU" smtClean="0"/>
              <a:t>15/08/2022</a:t>
            </a:fld>
            <a:endParaRPr lang="en-A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6BF23F0-78CA-454D-8380-871AF4ABC49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519055"/>
            <a:ext cx="2985559" cy="502833"/>
          </a:xfrm>
          <a:prstGeom prst="rect">
            <a:avLst/>
          </a:prstGeom>
        </p:spPr>
        <p:txBody>
          <a:bodyPr vert="horz" lIns="97173" tIns="48587" rIns="97173" bIns="48587" rtlCol="0" anchor="b"/>
          <a:lstStyle>
            <a:lvl1pPr algn="l">
              <a:defRPr sz="1300"/>
            </a:lvl1pPr>
          </a:lstStyle>
          <a:p>
            <a:endParaRPr lang="en-A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1B122B1-7FD4-4F7D-8D0C-F640ABC3965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02597" y="9519055"/>
            <a:ext cx="2985559" cy="502833"/>
          </a:xfrm>
          <a:prstGeom prst="rect">
            <a:avLst/>
          </a:prstGeom>
        </p:spPr>
        <p:txBody>
          <a:bodyPr vert="horz" lIns="97173" tIns="48587" rIns="97173" bIns="48587" rtlCol="0" anchor="b"/>
          <a:lstStyle>
            <a:lvl1pPr algn="r">
              <a:defRPr sz="1300"/>
            </a:lvl1pPr>
          </a:lstStyle>
          <a:p>
            <a:fld id="{AEAB284A-7447-4F37-B8AB-EA9D216DB5FB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653176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5559" cy="502834"/>
          </a:xfrm>
          <a:prstGeom prst="rect">
            <a:avLst/>
          </a:prstGeom>
        </p:spPr>
        <p:txBody>
          <a:bodyPr vert="horz" lIns="97173" tIns="48587" rIns="97173" bIns="48587" rtlCol="0"/>
          <a:lstStyle>
            <a:lvl1pPr algn="l">
              <a:defRPr sz="13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2597" y="1"/>
            <a:ext cx="2985559" cy="502834"/>
          </a:xfrm>
          <a:prstGeom prst="rect">
            <a:avLst/>
          </a:prstGeom>
        </p:spPr>
        <p:txBody>
          <a:bodyPr vert="horz" lIns="97173" tIns="48587" rIns="97173" bIns="48587" rtlCol="0"/>
          <a:lstStyle>
            <a:lvl1pPr algn="r">
              <a:defRPr sz="1300"/>
            </a:lvl1pPr>
          </a:lstStyle>
          <a:p>
            <a:fld id="{86708173-BFA6-4741-8ABA-B777CEB02B50}" type="datetimeFigureOut">
              <a:rPr lang="en-AU" smtClean="0"/>
              <a:t>15/08/2022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9738" y="1252538"/>
            <a:ext cx="6011862" cy="33829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7173" tIns="48587" rIns="97173" bIns="48587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975" y="4823033"/>
            <a:ext cx="5511800" cy="3946118"/>
          </a:xfrm>
          <a:prstGeom prst="rect">
            <a:avLst/>
          </a:prstGeom>
        </p:spPr>
        <p:txBody>
          <a:bodyPr vert="horz" lIns="97173" tIns="48587" rIns="97173" bIns="48587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19055"/>
            <a:ext cx="2985559" cy="502833"/>
          </a:xfrm>
          <a:prstGeom prst="rect">
            <a:avLst/>
          </a:prstGeom>
        </p:spPr>
        <p:txBody>
          <a:bodyPr vert="horz" lIns="97173" tIns="48587" rIns="97173" bIns="48587" rtlCol="0" anchor="b"/>
          <a:lstStyle>
            <a:lvl1pPr algn="l">
              <a:defRPr sz="13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2597" y="9519055"/>
            <a:ext cx="2985559" cy="502833"/>
          </a:xfrm>
          <a:prstGeom prst="rect">
            <a:avLst/>
          </a:prstGeom>
        </p:spPr>
        <p:txBody>
          <a:bodyPr vert="horz" lIns="97173" tIns="48587" rIns="97173" bIns="48587" rtlCol="0" anchor="b"/>
          <a:lstStyle>
            <a:lvl1pPr algn="r">
              <a:defRPr sz="1300"/>
            </a:lvl1pPr>
          </a:lstStyle>
          <a:p>
            <a:fld id="{D7FF452E-224D-4FAB-8E95-F18F4E6C5DEF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7117433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FF452E-224D-4FAB-8E95-F18F4E6C5DEF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252150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/>
              <a:t>Review server w/ </a:t>
            </a:r>
            <a:r>
              <a:rPr lang="en-AU" err="1"/>
              <a:t>Krithika</a:t>
            </a:r>
            <a:r>
              <a:rPr lang="en-AU"/>
              <a:t> || current SQL migration initiative “phase 20” w/ Simon </a:t>
            </a:r>
            <a:r>
              <a:rPr lang="en-AU" err="1"/>
              <a:t>Prichett</a:t>
            </a:r>
            <a:r>
              <a:rPr lang="en-AU"/>
              <a:t> || </a:t>
            </a:r>
          </a:p>
          <a:p>
            <a:r>
              <a:rPr lang="en-AU">
                <a:effectLst/>
                <a:latin typeface="-apple-system"/>
              </a:rPr>
              <a:t>Neil </a:t>
            </a:r>
            <a:r>
              <a:rPr lang="en-AU" err="1">
                <a:effectLst/>
                <a:latin typeface="-apple-system"/>
              </a:rPr>
              <a:t>Durnin</a:t>
            </a:r>
            <a:r>
              <a:rPr lang="en-AU">
                <a:effectLst/>
                <a:latin typeface="-apple-system"/>
              </a:rPr>
              <a:t> and Phil Hetherington (Identity Management Team) // Bala (owner) </a:t>
            </a:r>
            <a:r>
              <a:rPr lang="en-AU"/>
              <a:t> – Rio Tint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FF452E-224D-4FAB-8E95-F18F4E6C5DEF}" type="slidenum">
              <a:rPr lang="en-AU" smtClean="0"/>
              <a:t>2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5975989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/>
              <a:t>Stakeholder register – to move with week #4 planning;</a:t>
            </a:r>
          </a:p>
          <a:p>
            <a:endParaRPr lang="en-AU"/>
          </a:p>
          <a:p>
            <a:endParaRPr lang="en-AU"/>
          </a:p>
          <a:p>
            <a:r>
              <a:rPr lang="en-AU"/>
              <a:t>Review server w/ </a:t>
            </a:r>
            <a:r>
              <a:rPr lang="en-AU" err="1"/>
              <a:t>Krithika</a:t>
            </a:r>
            <a:r>
              <a:rPr lang="en-AU"/>
              <a:t> || current SQL migration initiative “phase 20” w/ Simon </a:t>
            </a:r>
            <a:r>
              <a:rPr lang="en-AU" err="1"/>
              <a:t>Prichett</a:t>
            </a:r>
            <a:r>
              <a:rPr lang="en-AU"/>
              <a:t> || </a:t>
            </a:r>
          </a:p>
          <a:p>
            <a:r>
              <a:rPr lang="en-AU">
                <a:effectLst/>
                <a:latin typeface="-apple-system"/>
              </a:rPr>
              <a:t>Neil </a:t>
            </a:r>
            <a:r>
              <a:rPr lang="en-AU" err="1">
                <a:effectLst/>
                <a:latin typeface="-apple-system"/>
              </a:rPr>
              <a:t>Durnin</a:t>
            </a:r>
            <a:r>
              <a:rPr lang="en-AU">
                <a:effectLst/>
                <a:latin typeface="-apple-system"/>
              </a:rPr>
              <a:t> and Phil Hetherington (Identity Management Team) // Bala (owner) </a:t>
            </a:r>
            <a:r>
              <a:rPr lang="en-AU"/>
              <a:t> – Rio Tint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FF452E-224D-4FAB-8E95-F18F4E6C5DEF}" type="slidenum">
              <a:rPr lang="en-AU" smtClean="0"/>
              <a:t>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7965937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/>
              <a:t>Review server w/ </a:t>
            </a:r>
            <a:r>
              <a:rPr lang="en-AU" err="1"/>
              <a:t>Krithika</a:t>
            </a:r>
            <a:r>
              <a:rPr lang="en-AU"/>
              <a:t> || current SQL migration initiative “phase 20” w/ Simon </a:t>
            </a:r>
            <a:r>
              <a:rPr lang="en-AU" err="1"/>
              <a:t>Prichett</a:t>
            </a:r>
            <a:r>
              <a:rPr lang="en-AU"/>
              <a:t> || </a:t>
            </a:r>
          </a:p>
          <a:p>
            <a:r>
              <a:rPr lang="en-AU">
                <a:effectLst/>
                <a:latin typeface="-apple-system"/>
              </a:rPr>
              <a:t>Neil </a:t>
            </a:r>
            <a:r>
              <a:rPr lang="en-AU" err="1">
                <a:effectLst/>
                <a:latin typeface="-apple-system"/>
              </a:rPr>
              <a:t>Durnin</a:t>
            </a:r>
            <a:r>
              <a:rPr lang="en-AU">
                <a:effectLst/>
                <a:latin typeface="-apple-system"/>
              </a:rPr>
              <a:t> and Phil Hetherington (Identity Management Team) // Bala (owner) </a:t>
            </a:r>
            <a:r>
              <a:rPr lang="en-AU"/>
              <a:t> – Rio Tint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FF452E-224D-4FAB-8E95-F18F4E6C5DEF}" type="slidenum">
              <a:rPr lang="en-AU" smtClean="0"/>
              <a:t>5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8698277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/>
              <a:t>Review server w/ </a:t>
            </a:r>
            <a:r>
              <a:rPr lang="en-AU" err="1"/>
              <a:t>Krithika</a:t>
            </a:r>
            <a:r>
              <a:rPr lang="en-AU"/>
              <a:t> || current SQL migration initiative “phase 20” w/ Simon </a:t>
            </a:r>
            <a:r>
              <a:rPr lang="en-AU" err="1"/>
              <a:t>Prichett</a:t>
            </a:r>
            <a:r>
              <a:rPr lang="en-AU"/>
              <a:t> || </a:t>
            </a:r>
          </a:p>
          <a:p>
            <a:r>
              <a:rPr lang="en-AU">
                <a:effectLst/>
                <a:latin typeface="-apple-system"/>
              </a:rPr>
              <a:t>Neil </a:t>
            </a:r>
            <a:r>
              <a:rPr lang="en-AU" err="1">
                <a:effectLst/>
                <a:latin typeface="-apple-system"/>
              </a:rPr>
              <a:t>Durnin</a:t>
            </a:r>
            <a:r>
              <a:rPr lang="en-AU">
                <a:effectLst/>
                <a:latin typeface="-apple-system"/>
              </a:rPr>
              <a:t> and Phil Hetherington (Identity Management Team) // </a:t>
            </a:r>
            <a:r>
              <a:rPr lang="en-AU" err="1">
                <a:effectLst/>
                <a:latin typeface="-apple-system"/>
              </a:rPr>
              <a:t>Bala</a:t>
            </a:r>
            <a:r>
              <a:rPr lang="en-AU">
                <a:effectLst/>
                <a:latin typeface="-apple-system"/>
              </a:rPr>
              <a:t> (owner) </a:t>
            </a:r>
            <a:r>
              <a:rPr lang="en-AU"/>
              <a:t> – Rio Tint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FF452E-224D-4FAB-8E95-F18F4E6C5DEF}" type="slidenum">
              <a:rPr lang="en-AU" smtClean="0"/>
              <a:t>6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8465118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/Relationships>
</file>

<file path=ppt/slideLayouts/_rels/slideLayout2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16.sv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691376" y="1524000"/>
            <a:ext cx="10783229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91376" y="390719"/>
            <a:ext cx="10783229" cy="9983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7F2C7DF-21F8-7F43-AF2B-D19C00A05E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E23A24-5E29-4F5A-B780-9568AE9A51D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761602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7BE495B-8D91-40D2-B88F-4A1B85973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84BA58F-6B00-43FF-8649-A324DD206A93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78000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F2D9557-0A1C-4957-AD5F-C7766B5A24E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321225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9F1777D9-15C5-4278-AD5F-EAE831BB5D8B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264450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F25965FF-30D6-4B26-A9FD-618888174D2C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9207500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979599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s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">
            <a:extLst>
              <a:ext uri="{FF2B5EF4-FFF2-40B4-BE49-F238E27FC236}">
                <a16:creationId xmlns:a16="http://schemas.microsoft.com/office/drawing/2014/main" id="{09EF6935-AFD7-46C0-B8DC-F4109159682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16000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C13DE71-BB7F-44F1-9F4C-FF26412237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B47697B-FE81-4829-9D0B-8D44222A63D5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78000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0075D078-EC21-452D-A2D3-DA872C6AF75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321225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025D9FE-3B11-4D3B-961A-D066B72BE01C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264450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9B8AD5B-92F7-40CB-8380-5473F043C5B4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9207500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269003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&amp; content (chart,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A74989-BEF5-42BA-A4DD-05E4DC35E65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79412" y="2214562"/>
            <a:ext cx="4073526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15866A6-5FB6-4879-B190-D941386C0FD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794250" y="2214562"/>
            <a:ext cx="7015164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3B3DBDE-DBD9-46CC-9B1B-F9883D7547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88653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&amp; content (chart, picture)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">
            <a:extLst>
              <a:ext uri="{FF2B5EF4-FFF2-40B4-BE49-F238E27FC236}">
                <a16:creationId xmlns:a16="http://schemas.microsoft.com/office/drawing/2014/main" id="{3AF63B48-9B81-462E-A24C-7037069CBAF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16000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39FA043-6343-4D03-814F-5850BF226E9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78000" y="2214562"/>
            <a:ext cx="40752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7CD48AF5-9262-4894-95BB-043B9ECC4D65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4791075" y="2214562"/>
            <a:ext cx="70164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8B85BA-F4F4-46EF-A7E1-F565ECC342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00211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ADB0E67-A0F8-4E12-9495-3388D2FEB2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83396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">
            <a:extLst>
              <a:ext uri="{FF2B5EF4-FFF2-40B4-BE49-F238E27FC236}">
                <a16:creationId xmlns:a16="http://schemas.microsoft.com/office/drawing/2014/main" id="{ADA27662-0458-48EE-BA0D-FDBA1DD392D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16000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A6D71CE-7DF7-430D-9253-F92774218F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7088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">
            <a:extLst>
              <a:ext uri="{FF2B5EF4-FFF2-40B4-BE49-F238E27FC236}">
                <a16:creationId xmlns:a16="http://schemas.microsoft.com/office/drawing/2014/main" id="{ADA27662-0458-48EE-BA0D-FDBA1DD392D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16000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A6D71CE-7DF7-430D-9253-F92774218F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09137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nd lev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AF0FDFCA-8C35-4BEB-8290-40897A6935A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82560" y="343563"/>
            <a:ext cx="9961200" cy="344487"/>
          </a:xfrm>
        </p:spPr>
        <p:txBody>
          <a:bodyPr/>
          <a:lstStyle>
            <a:lvl1pPr>
              <a:defRPr sz="2400">
                <a:solidFill>
                  <a:schemeClr val="accent2"/>
                </a:solidFill>
                <a:latin typeface="+mn-lt"/>
              </a:defRPr>
            </a:lvl1pPr>
            <a:lvl2pPr>
              <a:defRPr sz="2800">
                <a:latin typeface="Graphik-SemiboldItalic" panose="020B0703030202060203" pitchFamily="34" charset="0"/>
              </a:defRPr>
            </a:lvl2pPr>
          </a:lstStyle>
          <a:p>
            <a:pPr lvl="0"/>
            <a:r>
              <a:rPr lang="en-US"/>
              <a:t>Second level headlin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6A540C2-BE6F-43A7-AC94-C7ED493FDA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360" y="737501"/>
            <a:ext cx="9961200" cy="681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13788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nd level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3D89FB-F4F6-4A24-8C33-915F53CD1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360" y="737501"/>
            <a:ext cx="9961200" cy="681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5CF75DE-1FDF-49B2-B4F0-B668E9A2A79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81600" y="343563"/>
            <a:ext cx="9961200" cy="344487"/>
          </a:xfrm>
        </p:spPr>
        <p:txBody>
          <a:bodyPr/>
          <a:lstStyle>
            <a:lvl1pPr>
              <a:defRPr sz="2400">
                <a:solidFill>
                  <a:schemeClr val="accent2"/>
                </a:solidFill>
                <a:latin typeface="+mn-lt"/>
              </a:defRPr>
            </a:lvl1pPr>
            <a:lvl2pPr>
              <a:defRPr sz="2800">
                <a:latin typeface="Graphik-SemiboldItalic" panose="020B0703030202060203" pitchFamily="34" charset="0"/>
              </a:defRPr>
            </a:lvl2pPr>
          </a:lstStyle>
          <a:p>
            <a:pPr lvl="0"/>
            <a:r>
              <a:rPr lang="en-US"/>
              <a:t>Second level headline</a:t>
            </a:r>
            <a:endParaRPr lang="en-GB"/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2AEEA080-D398-4DA3-9A79-4960CAAA766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32776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</p:spTree>
    <p:extLst>
      <p:ext uri="{BB962C8B-B14F-4D97-AF65-F5344CB8AC3E}">
        <p14:creationId xmlns:p14="http://schemas.microsoft.com/office/powerpoint/2010/main" val="365039085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24635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Bleed Images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524F47D-9BB1-1549-80A2-61517DF72D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274" y="0"/>
            <a:ext cx="12191999" cy="685800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A21FEE-B9D7-C04E-962C-AB7CD864008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153102" y="6217537"/>
            <a:ext cx="43883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E23A24-5E29-4F5A-B780-9568AE9A51D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0346863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3">
            <a:extLst>
              <a:ext uri="{FF2B5EF4-FFF2-40B4-BE49-F238E27FC236}">
                <a16:creationId xmlns:a16="http://schemas.microsoft.com/office/drawing/2014/main" id="{ECFFB5DC-2193-446F-ABD4-D037F652B15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1" cy="68745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720000" tIns="0" rIns="720000" bIns="900000" anchor="ctr" anchorCtr="0"/>
          <a:lstStyle>
            <a:lvl1pPr algn="ctr">
              <a:defRPr sz="1600" b="0" cap="none" baseline="0"/>
            </a:lvl1pPr>
          </a:lstStyle>
          <a:p>
            <a:r>
              <a:rPr lang="en-US"/>
              <a:t>Click on the icon to insert image in placeholder and </a:t>
            </a:r>
            <a:br>
              <a:rPr lang="en-US"/>
            </a:br>
            <a:r>
              <a:rPr lang="en-US"/>
              <a:t>use the crop tool to center the image</a:t>
            </a:r>
          </a:p>
        </p:txBody>
      </p:sp>
    </p:spTree>
    <p:extLst>
      <p:ext uri="{BB962C8B-B14F-4D97-AF65-F5344CB8AC3E}">
        <p14:creationId xmlns:p14="http://schemas.microsoft.com/office/powerpoint/2010/main" val="21040847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(Positiv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17647" y="2755429"/>
            <a:ext cx="8541502" cy="1042344"/>
          </a:xfrm>
        </p:spPr>
        <p:txBody>
          <a:bodyPr tIns="198000" rIns="0" anchor="ctr">
            <a:spAutoFit/>
          </a:bodyPr>
          <a:lstStyle>
            <a:lvl1pPr>
              <a:lnSpc>
                <a:spcPct val="75000"/>
              </a:lnSpc>
              <a:defRPr sz="7000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Divider</a:t>
            </a:r>
          </a:p>
        </p:txBody>
      </p:sp>
    </p:spTree>
    <p:extLst>
      <p:ext uri="{BB962C8B-B14F-4D97-AF65-F5344CB8AC3E}">
        <p14:creationId xmlns:p14="http://schemas.microsoft.com/office/powerpoint/2010/main" val="26877738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27916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7" pos="597">
          <p15:clr>
            <a:srgbClr val="FBAE40"/>
          </p15:clr>
        </p15:guide>
        <p15:guide id="8" pos="7083">
          <p15:clr>
            <a:srgbClr val="FBAE40"/>
          </p15:clr>
        </p15:guide>
        <p15:guide id="9" orient="horz" pos="119">
          <p15:clr>
            <a:srgbClr val="FBAE40"/>
          </p15:clr>
        </p15:guide>
        <p15:guide id="10" orient="horz" pos="392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9EAD9AED-9987-4CE9-B39D-B256B46200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</a:t>
            </a:r>
            <a:br>
              <a:rPr lang="en-GB"/>
            </a:br>
            <a:r>
              <a:rPr lang="en-GB"/>
              <a:t>(36pt, min 30pt)</a:t>
            </a:r>
            <a:endParaRPr lang="en-US"/>
          </a:p>
        </p:txBody>
      </p:sp>
      <p:sp>
        <p:nvSpPr>
          <p:cNvPr id="4" name="Subtitle">
            <a:extLst>
              <a:ext uri="{FF2B5EF4-FFF2-40B4-BE49-F238E27FC236}">
                <a16:creationId xmlns:a16="http://schemas.microsoft.com/office/drawing/2014/main" id="{47788DB3-5AE6-4EE0-BA1A-48BA65E4F69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83478" y="1168671"/>
            <a:ext cx="11437371" cy="453183"/>
          </a:xfrm>
          <a:prstGeom prst="rect">
            <a:avLst/>
          </a:prstGeom>
        </p:spPr>
        <p:txBody>
          <a:bodyPr wrap="square" lIns="0" tIns="144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 b="1" i="0">
                <a:solidFill>
                  <a:schemeClr val="tx1"/>
                </a:solidFill>
                <a:latin typeface="Graphik Semibold" panose="020B0503030202060203" pitchFamily="34" charset="77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</p:spTree>
    <p:extLst>
      <p:ext uri="{BB962C8B-B14F-4D97-AF65-F5344CB8AC3E}">
        <p14:creationId xmlns:p14="http://schemas.microsoft.com/office/powerpoint/2010/main" val="208361143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Keypoints 2.2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AEC53D-33B0-473F-8FEF-D044CEC2BAF7}"/>
              </a:ext>
            </a:extLst>
          </p:cNvPr>
          <p:cNvSpPr>
            <a:spLocks noGrp="1"/>
          </p:cNvSpPr>
          <p:nvPr>
            <p:ph type="ftr" sz="quarter" idx="4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9B17BB-C14B-484A-99D9-8407CA6285AE}"/>
              </a:ext>
            </a:extLst>
          </p:cNvPr>
          <p:cNvSpPr>
            <a:spLocks noGrp="1"/>
          </p:cNvSpPr>
          <p:nvPr>
            <p:ph type="sldNum" sz="quarter" idx="41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14" name="White Rectangle">
            <a:extLst>
              <a:ext uri="{FF2B5EF4-FFF2-40B4-BE49-F238E27FC236}">
                <a16:creationId xmlns:a16="http://schemas.microsoft.com/office/drawing/2014/main" id="{7F85634B-D655-45F5-B274-ED1F723718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12192000" cy="26755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963D771-3DAE-41D9-951D-8B5213B39D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781" y="637200"/>
            <a:ext cx="5557322" cy="1061438"/>
          </a:xfrm>
        </p:spPr>
        <p:txBody>
          <a:bodyPr/>
          <a:lstStyle>
            <a:lvl1pPr>
              <a:defRPr sz="4400">
                <a:latin typeface="Graphik Semibold" panose="020B0703030202060203" pitchFamily="34" charset="0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CA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DDCE2E31-D391-493B-B358-C32EC9B2584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63600" y="1718824"/>
            <a:ext cx="5524500" cy="956773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09BFCDC0-631D-46D2-B500-99178E8EC2A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284912" y="-1"/>
            <a:ext cx="5907087" cy="6045201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03A9521C-1018-4C92-B2C0-6F99BF3459D5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70456" y="3659421"/>
            <a:ext cx="2583882" cy="20880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255303EE-8D35-46EB-BCBD-89ABAC587C7C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322636" y="3659421"/>
            <a:ext cx="2578227" cy="20880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0674225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AD9179-7A6B-4268-BEB2-F3B8EB06115B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Log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chutz</a:t>
            </a:r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B4707687-1B93-304F-8E95-EC529CE85D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390719"/>
            <a:ext cx="10779280" cy="523681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b="1" i="0">
                <a:solidFill>
                  <a:schemeClr val="tx1">
                    <a:lumMod val="85000"/>
                    <a:lumOff val="15000"/>
                  </a:schemeClr>
                </a:solidFill>
                <a:latin typeface="Graphik" panose="020B0503030202060203" pitchFamily="34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945190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Greetings + Greater Than 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omputer on a table&#10;&#10;Description automatically generated with medium confidence">
            <a:extLst>
              <a:ext uri="{FF2B5EF4-FFF2-40B4-BE49-F238E27FC236}">
                <a16:creationId xmlns:a16="http://schemas.microsoft.com/office/drawing/2014/main" id="{5212DC28-081C-4B53-B7E5-95A76845C5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966970" cy="68580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4FCB89E2-640C-4EE7-A7AE-2537E6D6CD37}"/>
              </a:ext>
            </a:extLst>
          </p:cNvPr>
          <p:cNvSpPr/>
          <p:nvPr userDrawn="1"/>
        </p:nvSpPr>
        <p:spPr>
          <a:xfrm flipH="1">
            <a:off x="0" y="0"/>
            <a:ext cx="7991061" cy="6858000"/>
          </a:xfrm>
          <a:prstGeom prst="rect">
            <a:avLst/>
          </a:prstGeom>
          <a:gradFill flip="none" rotWithShape="1">
            <a:gsLst>
              <a:gs pos="16000">
                <a:srgbClr val="7500C0">
                  <a:lumMod val="65000"/>
                  <a:alpha val="6000"/>
                </a:srgbClr>
              </a:gs>
              <a:gs pos="64000">
                <a:srgbClr val="460073">
                  <a:lumMod val="65000"/>
                  <a:alpha val="58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0D764ED-7FE8-4502-8389-7775F6BD9C37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 flip="none" rotWithShape="1">
            <a:gsLst>
              <a:gs pos="26000">
                <a:schemeClr val="accent2">
                  <a:lumMod val="50000"/>
                  <a:alpha val="32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1F886BB-4FFC-41F3-A51D-113007CF74B3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alpha val="75000"/>
                  </a:schemeClr>
                </a:solidFill>
              </a:rPr>
              <a:t>Copyright © 2022 Accenture/Avanade. All rights reserved.</a:t>
            </a:r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CAC32D3-DB02-4F1F-A282-561B7CCF2E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5996" y="4429617"/>
            <a:ext cx="4494212" cy="246221"/>
          </a:xfrm>
          <a:prstGeom prst="rect">
            <a:avLst/>
          </a:prstGeom>
        </p:spPr>
        <p:txBody>
          <a:bodyPr tIns="0" bIns="0">
            <a:spAutoFit/>
          </a:bodyPr>
          <a:lstStyle>
            <a:lvl1pPr>
              <a:defRPr sz="1600" b="0" cap="none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D025077-95DC-49A7-9B5F-D58671B13B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47" y="3368774"/>
            <a:ext cx="4970545" cy="54133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2000">
                <a:latin typeface="+mj-lt"/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CD2CC8A-C5DC-4215-AC36-15FD01976D5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3295" y="2286658"/>
            <a:ext cx="4970545" cy="97872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80000"/>
              </a:lnSpc>
              <a:defRPr sz="3600" b="1" i="0" cap="none">
                <a:solidFill>
                  <a:schemeClr val="tx1"/>
                </a:solidFill>
                <a:latin typeface="Graphik Black" panose="020B0503030202060203" pitchFamily="34" charset="77"/>
              </a:defRPr>
            </a:lvl1pPr>
          </a:lstStyle>
          <a:p>
            <a:pPr lvl="0"/>
            <a:r>
              <a:rPr lang="en-US"/>
              <a:t>Presentation title goes he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3C8C200-F2F1-4537-8031-DACAE9F5708F}"/>
              </a:ext>
            </a:extLst>
          </p:cNvPr>
          <p:cNvGrpSpPr/>
          <p:nvPr userDrawn="1"/>
        </p:nvGrpSpPr>
        <p:grpSpPr>
          <a:xfrm>
            <a:off x="385491" y="451210"/>
            <a:ext cx="4851142" cy="671218"/>
            <a:chOff x="385491" y="6038005"/>
            <a:chExt cx="2897417" cy="400895"/>
          </a:xfrm>
        </p:grpSpPr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D47088F6-0520-427B-B0F2-5AAB654DAC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lum bright="100000" contrast="-10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834798" y="6074781"/>
              <a:ext cx="1448110" cy="364119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52373D85-8B9E-4F77-937B-7F622C24C21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lum bright="100000" contrast="-10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85491" y="6038005"/>
              <a:ext cx="1241875" cy="3257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032618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369771"/>
          </a:xfrm>
        </p:spPr>
        <p:txBody>
          <a:bodyPr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8BBEE1C-072C-4BA5-B5C9-04DA2C242B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895" y="804060"/>
            <a:ext cx="11430000" cy="552542"/>
          </a:xfrm>
          <a:prstGeom prst="rect">
            <a:avLst/>
          </a:prstGeom>
        </p:spPr>
        <p:txBody>
          <a:bodyPr lIns="0" anchor="t"/>
          <a:lstStyle>
            <a:lvl1pPr>
              <a:defRPr sz="16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536010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2218648" y="576694"/>
            <a:ext cx="155791" cy="5275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Rectangle 2"/>
          <p:cNvSpPr/>
          <p:nvPr userDrawn="1"/>
        </p:nvSpPr>
        <p:spPr>
          <a:xfrm>
            <a:off x="12218648" y="1153388"/>
            <a:ext cx="155791" cy="52753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Rectangle 3"/>
          <p:cNvSpPr/>
          <p:nvPr userDrawn="1"/>
        </p:nvSpPr>
        <p:spPr>
          <a:xfrm>
            <a:off x="12215747" y="2306776"/>
            <a:ext cx="155791" cy="5275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Rectangle 4"/>
          <p:cNvSpPr/>
          <p:nvPr userDrawn="1"/>
        </p:nvSpPr>
        <p:spPr>
          <a:xfrm>
            <a:off x="12215747" y="2883470"/>
            <a:ext cx="155791" cy="527538"/>
          </a:xfrm>
          <a:prstGeom prst="rect">
            <a:avLst/>
          </a:prstGeom>
          <a:solidFill>
            <a:srgbClr val="4B912A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ectangle 5"/>
          <p:cNvSpPr/>
          <p:nvPr userDrawn="1"/>
        </p:nvSpPr>
        <p:spPr>
          <a:xfrm>
            <a:off x="12215747" y="3460164"/>
            <a:ext cx="155791" cy="527538"/>
          </a:xfrm>
          <a:prstGeom prst="rect">
            <a:avLst/>
          </a:prstGeom>
          <a:solidFill>
            <a:srgbClr val="008C95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ctangle 6"/>
          <p:cNvSpPr/>
          <p:nvPr userDrawn="1"/>
        </p:nvSpPr>
        <p:spPr>
          <a:xfrm>
            <a:off x="12215747" y="4036858"/>
            <a:ext cx="155791" cy="527538"/>
          </a:xfrm>
          <a:prstGeom prst="rect">
            <a:avLst/>
          </a:prstGeom>
          <a:solidFill>
            <a:srgbClr val="006EC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/>
          <p:cNvSpPr/>
          <p:nvPr userDrawn="1"/>
        </p:nvSpPr>
        <p:spPr>
          <a:xfrm>
            <a:off x="12215747" y="1730082"/>
            <a:ext cx="155791" cy="527538"/>
          </a:xfrm>
          <a:prstGeom prst="rect">
            <a:avLst/>
          </a:prstGeom>
          <a:solidFill>
            <a:srgbClr val="890078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/>
          <p:cNvSpPr/>
          <p:nvPr userDrawn="1"/>
        </p:nvSpPr>
        <p:spPr>
          <a:xfrm>
            <a:off x="12382950" y="576694"/>
            <a:ext cx="155791" cy="527538"/>
          </a:xfrm>
          <a:prstGeom prst="rect">
            <a:avLst/>
          </a:prstGeom>
          <a:solidFill>
            <a:srgbClr val="A5064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 userDrawn="1"/>
        </p:nvSpPr>
        <p:spPr>
          <a:xfrm>
            <a:off x="12382950" y="1153388"/>
            <a:ext cx="155791" cy="527538"/>
          </a:xfrm>
          <a:prstGeom prst="rect">
            <a:avLst/>
          </a:prstGeom>
          <a:solidFill>
            <a:srgbClr val="9E120E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/>
          <p:cNvSpPr/>
          <p:nvPr userDrawn="1"/>
        </p:nvSpPr>
        <p:spPr>
          <a:xfrm>
            <a:off x="12380049" y="2306776"/>
            <a:ext cx="155791" cy="527538"/>
          </a:xfrm>
          <a:prstGeom prst="rect">
            <a:avLst/>
          </a:prstGeom>
          <a:solidFill>
            <a:srgbClr val="E6A61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Rectangle 11"/>
          <p:cNvSpPr/>
          <p:nvPr userDrawn="1"/>
        </p:nvSpPr>
        <p:spPr>
          <a:xfrm>
            <a:off x="12380049" y="2883470"/>
            <a:ext cx="155791" cy="527538"/>
          </a:xfrm>
          <a:prstGeom prst="rect">
            <a:avLst/>
          </a:prstGeom>
          <a:solidFill>
            <a:srgbClr val="05732A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tangle 12"/>
          <p:cNvSpPr/>
          <p:nvPr userDrawn="1"/>
        </p:nvSpPr>
        <p:spPr>
          <a:xfrm>
            <a:off x="12380049" y="3460164"/>
            <a:ext cx="155791" cy="527538"/>
          </a:xfrm>
          <a:prstGeom prst="rect">
            <a:avLst/>
          </a:prstGeom>
          <a:solidFill>
            <a:srgbClr val="005F6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tangle 13"/>
          <p:cNvSpPr/>
          <p:nvPr userDrawn="1"/>
        </p:nvSpPr>
        <p:spPr>
          <a:xfrm>
            <a:off x="12380049" y="4036858"/>
            <a:ext cx="155791" cy="527538"/>
          </a:xfrm>
          <a:prstGeom prst="rect">
            <a:avLst/>
          </a:prstGeom>
          <a:solidFill>
            <a:srgbClr val="05508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/>
          <p:cNvSpPr/>
          <p:nvPr userDrawn="1"/>
        </p:nvSpPr>
        <p:spPr>
          <a:xfrm>
            <a:off x="12380049" y="1730082"/>
            <a:ext cx="155791" cy="527538"/>
          </a:xfrm>
          <a:prstGeom prst="rect">
            <a:avLst/>
          </a:prstGeom>
          <a:solidFill>
            <a:srgbClr val="5A1455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/>
          <p:cNvSpPr/>
          <p:nvPr userDrawn="1"/>
        </p:nvSpPr>
        <p:spPr>
          <a:xfrm>
            <a:off x="12218648" y="0"/>
            <a:ext cx="155791" cy="5275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/>
          <p:cNvSpPr/>
          <p:nvPr userDrawn="1"/>
        </p:nvSpPr>
        <p:spPr>
          <a:xfrm>
            <a:off x="12382950" y="0"/>
            <a:ext cx="155791" cy="527538"/>
          </a:xfrm>
          <a:prstGeom prst="rect">
            <a:avLst/>
          </a:prstGeom>
          <a:solidFill>
            <a:srgbClr val="CC460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061683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65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AD9179-7A6B-4268-BEB2-F3B8EB06115B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Log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chutz</a:t>
            </a:r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B4707687-1B93-304F-8E95-EC529CE85D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390719"/>
            <a:ext cx="10779280" cy="523681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b="1" i="0">
                <a:solidFill>
                  <a:schemeClr val="tx1">
                    <a:lumMod val="85000"/>
                    <a:lumOff val="15000"/>
                  </a:schemeClr>
                </a:solidFill>
                <a:latin typeface="Graphik" panose="020B0503030202060203" pitchFamily="34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872426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37C10AFE-A1A0-400E-B25F-A15F6675AA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6" y="1828879"/>
            <a:ext cx="5544000" cy="4225688"/>
          </a:xfrm>
        </p:spPr>
        <p:txBody>
          <a:bodyPr>
            <a:noAutofit/>
          </a:bodyPr>
          <a:lstStyle>
            <a:lvl1pPr>
              <a:defRPr sz="5400"/>
            </a:lvl1pPr>
          </a:lstStyle>
          <a:p>
            <a:r>
              <a:rPr lang="en-US"/>
              <a:t>Section introduction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BBA1B5-C077-429B-B8B5-3E4D80450C2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1828800"/>
            <a:ext cx="5544000" cy="42256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31583509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691376" y="1132114"/>
            <a:ext cx="10783229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1pPr>
            <a:lvl2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2pPr>
            <a:lvl3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3pPr>
            <a:lvl4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4pPr>
            <a:lvl5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91376" y="390719"/>
            <a:ext cx="10783229" cy="523681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b="1" i="0">
                <a:solidFill>
                  <a:schemeClr val="tx1">
                    <a:lumMod val="85000"/>
                    <a:lumOff val="15000"/>
                  </a:schemeClr>
                </a:solidFill>
                <a:latin typeface="Graphik" panose="020B0503030202060203" pitchFamily="34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51454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7219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USETH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5A9A54C-F7AC-FB49-AB30-4D18871E4CF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822F011-1B5D-4908-8620-D3407CB489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985438-9978-43CA-8E43-12994E9F65B8}"/>
              </a:ext>
            </a:extLst>
          </p:cNvPr>
          <p:cNvSpPr/>
          <p:nvPr userDrawn="1"/>
        </p:nvSpPr>
        <p:spPr>
          <a:xfrm>
            <a:off x="694944" y="2"/>
            <a:ext cx="10789920" cy="45719"/>
          </a:xfrm>
          <a:prstGeom prst="rect">
            <a:avLst/>
          </a:prstGeom>
          <a:gradFill>
            <a:gsLst>
              <a:gs pos="80000">
                <a:srgbClr val="FF5800"/>
              </a:gs>
              <a:gs pos="0">
                <a:srgbClr val="FFD700"/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74495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redentials Sty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3">
            <a:extLst>
              <a:ext uri="{FF2B5EF4-FFF2-40B4-BE49-F238E27FC236}">
                <a16:creationId xmlns:a16="http://schemas.microsoft.com/office/drawing/2014/main" id="{59B6915F-1823-4615-958F-D8D196ED869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794249" y="0"/>
            <a:ext cx="7397751" cy="68745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720000" tIns="0" rIns="720000" bIns="900000" anchor="ctr" anchorCtr="0"/>
          <a:lstStyle>
            <a:lvl1pPr algn="ctr">
              <a:defRPr sz="1600" b="0" cap="none" baseline="0"/>
            </a:lvl1pPr>
          </a:lstStyle>
          <a:p>
            <a:r>
              <a:rPr lang="en-US"/>
              <a:t>Click on the icon to insert image in placeholder and </a:t>
            </a:r>
            <a:br>
              <a:rPr lang="en-US"/>
            </a:br>
            <a:r>
              <a:rPr lang="en-US"/>
              <a:t>use the crop tool to center the imag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975BB0-510C-4403-944C-3F8C375494EE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8" name="Company name">
            <a:extLst>
              <a:ext uri="{FF2B5EF4-FFF2-40B4-BE49-F238E27FC236}">
                <a16:creationId xmlns:a16="http://schemas.microsoft.com/office/drawing/2014/main" id="{985A2BE9-49A3-4D91-9A7D-F27A002C7A2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4361" y="355824"/>
            <a:ext cx="4078578" cy="276999"/>
          </a:xfrm>
          <a:prstGeom prst="rect">
            <a:avLst/>
          </a:prstGeom>
        </p:spPr>
        <p:txBody>
          <a:bodyPr wrap="square" tIns="0" anchor="b" anchorCtr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 b="1" i="0" cap="none" baseline="0">
                <a:solidFill>
                  <a:schemeClr val="accent2"/>
                </a:solidFill>
                <a:latin typeface="Graphik Semibold" panose="020B0503030202060203" pitchFamily="34" charset="77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Company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3AC8A6-E8FF-4022-890E-5FB65EA4DC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360" y="746644"/>
            <a:ext cx="4078578" cy="1231913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665403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E9673F3F-F729-4631-BED7-FED0ADE758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169" y="6588493"/>
            <a:ext cx="438831" cy="26950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 b="0" i="0">
                <a:solidFill>
                  <a:schemeClr val="tx1"/>
                </a:solidFill>
                <a:latin typeface="Graphik" panose="020B0503030202060203" pitchFamily="34" charset="77"/>
                <a:cs typeface="Segoe UI Semibold" panose="020B0702040204020203" pitchFamily="34" charset="0"/>
              </a:defRPr>
            </a:lvl1pPr>
          </a:lstStyle>
          <a:p>
            <a:fld id="{0EE23A24-5E29-4F5A-B780-9568AE9A51DD}" type="slidenum">
              <a:rPr lang="en-PL" smtClean="0"/>
              <a:pPr/>
              <a:t>‹#›</a:t>
            </a:fld>
            <a:endParaRPr lang="en-PL"/>
          </a:p>
        </p:txBody>
      </p:sp>
    </p:spTree>
    <p:extLst>
      <p:ext uri="{BB962C8B-B14F-4D97-AF65-F5344CB8AC3E}">
        <p14:creationId xmlns:p14="http://schemas.microsoft.com/office/powerpoint/2010/main" val="331710322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45019" y="332077"/>
            <a:ext cx="11491382" cy="34471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sz="2800" spc="0">
                <a:solidFill>
                  <a:schemeClr val="tx1"/>
                </a:solidFill>
                <a:latin typeface="Graphik Black" panose="020B0A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60348E6-5543-453A-986B-9CF9B8A278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019" y="714365"/>
            <a:ext cx="11491382" cy="425708"/>
          </a:xfrm>
          <a:prstGeom prst="rect">
            <a:avLst/>
          </a:prstGeom>
        </p:spPr>
        <p:txBody>
          <a:bodyPr lIns="0" tIns="0" rIns="0" bIns="0"/>
          <a:lstStyle>
            <a:lvl1pPr algn="l" defTabSz="1734634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000" b="0" i="0" kern="1200" cap="none" spc="0" baseline="0" dirty="0">
                <a:solidFill>
                  <a:schemeClr val="accent1"/>
                </a:solidFill>
                <a:latin typeface="Graphik Black" panose="020B0A03030202060203" pitchFamily="34" charset="0"/>
                <a:ea typeface="Graphik Black" panose="020B0A03030202060203" pitchFamily="34" charset="0"/>
                <a:cs typeface="Graphik Black" panose="020B0A03030202060203" pitchFamily="34" charset="0"/>
              </a:defRPr>
            </a:lvl1pPr>
          </a:lstStyle>
          <a:p>
            <a:pPr lvl="0"/>
            <a:r>
              <a:rPr lang="en-US"/>
              <a:t>Click to edit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7969864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urora -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59817" y="1524000"/>
            <a:ext cx="5181600" cy="4351338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3817" y="1524000"/>
            <a:ext cx="4936414" cy="4351338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0231" y="6356350"/>
            <a:ext cx="496632" cy="365125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847DB54-D037-B84F-B6F1-2E8DA40D09A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0435480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97">
          <p15:clr>
            <a:srgbClr val="FBAE40"/>
          </p15:clr>
        </p15:guide>
        <p15:guide id="4" pos="7083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3929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Greetings + Greater Than 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omputer on a table&#10;&#10;Description automatically generated with medium confidence">
            <a:extLst>
              <a:ext uri="{FF2B5EF4-FFF2-40B4-BE49-F238E27FC236}">
                <a16:creationId xmlns:a16="http://schemas.microsoft.com/office/drawing/2014/main" id="{5212DC28-081C-4B53-B7E5-95A76845C5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966970" cy="68580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4FCB89E2-640C-4EE7-A7AE-2537E6D6CD37}"/>
              </a:ext>
            </a:extLst>
          </p:cNvPr>
          <p:cNvSpPr/>
          <p:nvPr userDrawn="1"/>
        </p:nvSpPr>
        <p:spPr>
          <a:xfrm flipH="1">
            <a:off x="0" y="0"/>
            <a:ext cx="7991061" cy="6858000"/>
          </a:xfrm>
          <a:prstGeom prst="rect">
            <a:avLst/>
          </a:prstGeom>
          <a:gradFill flip="none" rotWithShape="1">
            <a:gsLst>
              <a:gs pos="16000">
                <a:srgbClr val="7500C0">
                  <a:lumMod val="65000"/>
                  <a:alpha val="6000"/>
                </a:srgbClr>
              </a:gs>
              <a:gs pos="64000">
                <a:srgbClr val="460073">
                  <a:lumMod val="65000"/>
                  <a:alpha val="58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0D764ED-7FE8-4502-8389-7775F6BD9C37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 flip="none" rotWithShape="1">
            <a:gsLst>
              <a:gs pos="26000">
                <a:schemeClr val="accent2">
                  <a:lumMod val="50000"/>
                  <a:alpha val="32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1F886BB-4FFC-41F3-A51D-113007CF74B3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alpha val="75000"/>
                  </a:schemeClr>
                </a:solidFill>
              </a:rPr>
              <a:t>Copyright © 2022 Accenture/Avanade. All rights reserved.</a:t>
            </a:r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CAC32D3-DB02-4F1F-A282-561B7CCF2E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5996" y="4429617"/>
            <a:ext cx="4494212" cy="246221"/>
          </a:xfrm>
          <a:prstGeom prst="rect">
            <a:avLst/>
          </a:prstGeom>
        </p:spPr>
        <p:txBody>
          <a:bodyPr tIns="0" bIns="0">
            <a:spAutoFit/>
          </a:bodyPr>
          <a:lstStyle>
            <a:lvl1pPr>
              <a:defRPr sz="1600" b="0" cap="none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D025077-95DC-49A7-9B5F-D58671B13B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47" y="3368774"/>
            <a:ext cx="4970545" cy="54133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2000">
                <a:latin typeface="+mj-lt"/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CD2CC8A-C5DC-4215-AC36-15FD01976D5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3295" y="2286658"/>
            <a:ext cx="4970545" cy="97872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80000"/>
              </a:lnSpc>
              <a:defRPr sz="3600" b="1" i="0" cap="none">
                <a:solidFill>
                  <a:schemeClr val="tx1"/>
                </a:solidFill>
                <a:latin typeface="Graphik Black" panose="020B0503030202060203" pitchFamily="34" charset="77"/>
              </a:defRPr>
            </a:lvl1pPr>
          </a:lstStyle>
          <a:p>
            <a:pPr lvl="0"/>
            <a:r>
              <a:rPr lang="en-US"/>
              <a:t>Presentation title goes he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3C8C200-F2F1-4537-8031-DACAE9F5708F}"/>
              </a:ext>
            </a:extLst>
          </p:cNvPr>
          <p:cNvGrpSpPr/>
          <p:nvPr userDrawn="1"/>
        </p:nvGrpSpPr>
        <p:grpSpPr>
          <a:xfrm>
            <a:off x="385491" y="451210"/>
            <a:ext cx="4851142" cy="671218"/>
            <a:chOff x="385491" y="6038005"/>
            <a:chExt cx="2897417" cy="400895"/>
          </a:xfrm>
        </p:grpSpPr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D47088F6-0520-427B-B0F2-5AAB654DAC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lum bright="100000" contrast="-10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834798" y="6074781"/>
              <a:ext cx="1448110" cy="364119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52373D85-8B9E-4F77-937B-7F622C24C21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lum bright="100000" contrast="-10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85491" y="6038005"/>
              <a:ext cx="1241875" cy="3257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047033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369771"/>
          </a:xfrm>
        </p:spPr>
        <p:txBody>
          <a:bodyPr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8BBEE1C-072C-4BA5-B5C9-04DA2C242B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895" y="804060"/>
            <a:ext cx="11430000" cy="552542"/>
          </a:xfrm>
          <a:prstGeom prst="rect">
            <a:avLst/>
          </a:prstGeom>
        </p:spPr>
        <p:txBody>
          <a:bodyPr lIns="0" anchor="t"/>
          <a:lstStyle>
            <a:lvl1pPr>
              <a:defRPr sz="16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086113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and content gray wa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4FE86BDB-6CCC-4164-BBE6-A5A72F629C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09FCC80-4980-4346-8053-B3E63CB1B972}"/>
              </a:ext>
            </a:extLst>
          </p:cNvPr>
          <p:cNvSpPr/>
          <p:nvPr userDrawn="1"/>
        </p:nvSpPr>
        <p:spPr>
          <a:xfrm flipH="1">
            <a:off x="-6" y="0"/>
            <a:ext cx="12192001" cy="6858000"/>
          </a:xfrm>
          <a:prstGeom prst="rect">
            <a:avLst/>
          </a:prstGeom>
          <a:gradFill flip="none" rotWithShape="1">
            <a:gsLst>
              <a:gs pos="0">
                <a:srgbClr val="7500C0">
                  <a:lumMod val="65000"/>
                  <a:alpha val="37000"/>
                </a:srgbClr>
              </a:gs>
              <a:gs pos="91000">
                <a:srgbClr val="460073">
                  <a:lumMod val="65000"/>
                  <a:alpha val="94000"/>
                </a:srgb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/>
          </a:p>
        </p:txBody>
      </p:sp>
      <p:sp>
        <p:nvSpPr>
          <p:cNvPr id="12" name="Title 5">
            <a:extLst>
              <a:ext uri="{FF2B5EF4-FFF2-40B4-BE49-F238E27FC236}">
                <a16:creationId xmlns:a16="http://schemas.microsoft.com/office/drawing/2014/main" id="{178D1DDA-5C3B-C442-A8B8-A1A521B671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4945" y="822960"/>
            <a:ext cx="6421462" cy="1421928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>
              <a:defRPr lang="en-US" sz="5400" b="1" dirty="0">
                <a:solidFill>
                  <a:schemeClr val="bg1"/>
                </a:solidFill>
                <a:latin typeface="+mj-lt"/>
                <a:cs typeface="Segoe UI Light" panose="020B0502040204020203" pitchFamily="34" charset="0"/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F22D306-4E3B-4B05-B44F-56C9326D35F0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bg1"/>
                </a:solidFill>
              </a:rPr>
              <a:t>Copyright © 2022 Accenture/Avanade. All rights reserved.</a:t>
            </a:r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F646CDF-8270-49A9-B3C7-C28EC31D44AE}"/>
              </a:ext>
            </a:extLst>
          </p:cNvPr>
          <p:cNvSpPr txBox="1"/>
          <p:nvPr userDrawn="1"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/>
                </a:solidFill>
              </a:rPr>
              <a:t>‹#›</a:t>
            </a:fld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7" name="Slide Number Placeholder 6">
            <a:extLst>
              <a:ext uri="{FF2B5EF4-FFF2-40B4-BE49-F238E27FC236}">
                <a16:creationId xmlns:a16="http://schemas.microsoft.com/office/drawing/2014/main" id="{8F2438DC-7642-42E3-851B-DD748E3988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solidFill>
                  <a:schemeClr val="bg1"/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  <p:pic>
        <p:nvPicPr>
          <p:cNvPr id="10" name="Acc_CoreBrand_Logo_Black_Purple">
            <a:extLst>
              <a:ext uri="{FF2B5EF4-FFF2-40B4-BE49-F238E27FC236}">
                <a16:creationId xmlns:a16="http://schemas.microsoft.com/office/drawing/2014/main" id="{768327AF-302A-AF45-92E5-6720AD2FA7A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81000" y="6485377"/>
            <a:ext cx="788581" cy="20684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D5C4743-BEEA-BB41-BC91-7E497CD5420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177200" y="6417572"/>
            <a:ext cx="1085939" cy="399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316544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65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2218648" y="576694"/>
            <a:ext cx="155791" cy="5275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Rectangle 2"/>
          <p:cNvSpPr/>
          <p:nvPr userDrawn="1"/>
        </p:nvSpPr>
        <p:spPr>
          <a:xfrm>
            <a:off x="12218648" y="1153388"/>
            <a:ext cx="155791" cy="52753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Rectangle 3"/>
          <p:cNvSpPr/>
          <p:nvPr userDrawn="1"/>
        </p:nvSpPr>
        <p:spPr>
          <a:xfrm>
            <a:off x="12215747" y="2306776"/>
            <a:ext cx="155791" cy="5275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Rectangle 4"/>
          <p:cNvSpPr/>
          <p:nvPr userDrawn="1"/>
        </p:nvSpPr>
        <p:spPr>
          <a:xfrm>
            <a:off x="12215747" y="2883470"/>
            <a:ext cx="155791" cy="527538"/>
          </a:xfrm>
          <a:prstGeom prst="rect">
            <a:avLst/>
          </a:prstGeom>
          <a:solidFill>
            <a:srgbClr val="4B912A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ectangle 5"/>
          <p:cNvSpPr/>
          <p:nvPr userDrawn="1"/>
        </p:nvSpPr>
        <p:spPr>
          <a:xfrm>
            <a:off x="12215747" y="3460164"/>
            <a:ext cx="155791" cy="527538"/>
          </a:xfrm>
          <a:prstGeom prst="rect">
            <a:avLst/>
          </a:prstGeom>
          <a:solidFill>
            <a:srgbClr val="008C95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ctangle 6"/>
          <p:cNvSpPr/>
          <p:nvPr userDrawn="1"/>
        </p:nvSpPr>
        <p:spPr>
          <a:xfrm>
            <a:off x="12215747" y="4036858"/>
            <a:ext cx="155791" cy="527538"/>
          </a:xfrm>
          <a:prstGeom prst="rect">
            <a:avLst/>
          </a:prstGeom>
          <a:solidFill>
            <a:srgbClr val="006EC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/>
          <p:cNvSpPr/>
          <p:nvPr userDrawn="1"/>
        </p:nvSpPr>
        <p:spPr>
          <a:xfrm>
            <a:off x="12215747" y="1730082"/>
            <a:ext cx="155791" cy="527538"/>
          </a:xfrm>
          <a:prstGeom prst="rect">
            <a:avLst/>
          </a:prstGeom>
          <a:solidFill>
            <a:srgbClr val="890078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/>
          <p:cNvSpPr/>
          <p:nvPr userDrawn="1"/>
        </p:nvSpPr>
        <p:spPr>
          <a:xfrm>
            <a:off x="12382950" y="576694"/>
            <a:ext cx="155791" cy="527538"/>
          </a:xfrm>
          <a:prstGeom prst="rect">
            <a:avLst/>
          </a:prstGeom>
          <a:solidFill>
            <a:srgbClr val="A5064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 userDrawn="1"/>
        </p:nvSpPr>
        <p:spPr>
          <a:xfrm>
            <a:off x="12382950" y="1153388"/>
            <a:ext cx="155791" cy="527538"/>
          </a:xfrm>
          <a:prstGeom prst="rect">
            <a:avLst/>
          </a:prstGeom>
          <a:solidFill>
            <a:srgbClr val="9E120E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/>
          <p:cNvSpPr/>
          <p:nvPr userDrawn="1"/>
        </p:nvSpPr>
        <p:spPr>
          <a:xfrm>
            <a:off x="12380049" y="2306776"/>
            <a:ext cx="155791" cy="527538"/>
          </a:xfrm>
          <a:prstGeom prst="rect">
            <a:avLst/>
          </a:prstGeom>
          <a:solidFill>
            <a:srgbClr val="E6A61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Rectangle 11"/>
          <p:cNvSpPr/>
          <p:nvPr userDrawn="1"/>
        </p:nvSpPr>
        <p:spPr>
          <a:xfrm>
            <a:off x="12380049" y="2883470"/>
            <a:ext cx="155791" cy="527538"/>
          </a:xfrm>
          <a:prstGeom prst="rect">
            <a:avLst/>
          </a:prstGeom>
          <a:solidFill>
            <a:srgbClr val="05732A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tangle 12"/>
          <p:cNvSpPr/>
          <p:nvPr userDrawn="1"/>
        </p:nvSpPr>
        <p:spPr>
          <a:xfrm>
            <a:off x="12380049" y="3460164"/>
            <a:ext cx="155791" cy="527538"/>
          </a:xfrm>
          <a:prstGeom prst="rect">
            <a:avLst/>
          </a:prstGeom>
          <a:solidFill>
            <a:srgbClr val="005F6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tangle 13"/>
          <p:cNvSpPr/>
          <p:nvPr userDrawn="1"/>
        </p:nvSpPr>
        <p:spPr>
          <a:xfrm>
            <a:off x="12380049" y="4036858"/>
            <a:ext cx="155791" cy="527538"/>
          </a:xfrm>
          <a:prstGeom prst="rect">
            <a:avLst/>
          </a:prstGeom>
          <a:solidFill>
            <a:srgbClr val="05508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/>
          <p:cNvSpPr/>
          <p:nvPr userDrawn="1"/>
        </p:nvSpPr>
        <p:spPr>
          <a:xfrm>
            <a:off x="12380049" y="1730082"/>
            <a:ext cx="155791" cy="527538"/>
          </a:xfrm>
          <a:prstGeom prst="rect">
            <a:avLst/>
          </a:prstGeom>
          <a:solidFill>
            <a:srgbClr val="5A1455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/>
          <p:cNvSpPr/>
          <p:nvPr userDrawn="1"/>
        </p:nvSpPr>
        <p:spPr>
          <a:xfrm>
            <a:off x="12218648" y="0"/>
            <a:ext cx="155791" cy="5275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/>
          <p:cNvSpPr/>
          <p:nvPr userDrawn="1"/>
        </p:nvSpPr>
        <p:spPr>
          <a:xfrm>
            <a:off x="12382950" y="0"/>
            <a:ext cx="155791" cy="527538"/>
          </a:xfrm>
          <a:prstGeom prst="rect">
            <a:avLst/>
          </a:prstGeom>
          <a:solidFill>
            <a:srgbClr val="CC460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700433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65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CF415F-3689-45B9-9B4F-EC0507DDDAF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413" y="2214563"/>
            <a:ext cx="9958387" cy="38417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6F93B3A-1669-41E7-9EBD-EB1A7B4763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210462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AD9179-7A6B-4268-BEB2-F3B8EB06115B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Log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chutz</a:t>
            </a:r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B4707687-1B93-304F-8E95-EC529CE85D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390719"/>
            <a:ext cx="10779280" cy="523681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b="1" i="0">
                <a:solidFill>
                  <a:schemeClr val="tx1">
                    <a:lumMod val="85000"/>
                    <a:lumOff val="15000"/>
                  </a:schemeClr>
                </a:solidFill>
                <a:latin typeface="Graphik" panose="020B0503030202060203" pitchFamily="34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62800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691376" y="1132114"/>
            <a:ext cx="10783229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1pPr>
            <a:lvl2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2pPr>
            <a:lvl3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3pPr>
            <a:lvl4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4pPr>
            <a:lvl5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91376" y="390719"/>
            <a:ext cx="10783229" cy="523681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b="1" i="0">
                <a:solidFill>
                  <a:schemeClr val="tx1">
                    <a:lumMod val="85000"/>
                    <a:lumOff val="15000"/>
                  </a:schemeClr>
                </a:solidFill>
                <a:latin typeface="Graphik" panose="020B0503030202060203" pitchFamily="34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5614549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7219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USETH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5A9A54C-F7AC-FB49-AB30-4D18871E4CF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822F011-1B5D-4908-8620-D3407CB489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985438-9978-43CA-8E43-12994E9F65B8}"/>
              </a:ext>
            </a:extLst>
          </p:cNvPr>
          <p:cNvSpPr/>
          <p:nvPr userDrawn="1"/>
        </p:nvSpPr>
        <p:spPr>
          <a:xfrm>
            <a:off x="694944" y="2"/>
            <a:ext cx="10789920" cy="45719"/>
          </a:xfrm>
          <a:prstGeom prst="rect">
            <a:avLst/>
          </a:prstGeom>
          <a:gradFill>
            <a:gsLst>
              <a:gs pos="80000">
                <a:srgbClr val="FF5800"/>
              </a:gs>
              <a:gs pos="0">
                <a:srgbClr val="FFD700"/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09330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redentials Sty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3">
            <a:extLst>
              <a:ext uri="{FF2B5EF4-FFF2-40B4-BE49-F238E27FC236}">
                <a16:creationId xmlns:a16="http://schemas.microsoft.com/office/drawing/2014/main" id="{59B6915F-1823-4615-958F-D8D196ED869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794249" y="0"/>
            <a:ext cx="7397751" cy="68745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720000" tIns="0" rIns="720000" bIns="900000" anchor="ctr" anchorCtr="0"/>
          <a:lstStyle>
            <a:lvl1pPr algn="ctr">
              <a:defRPr sz="1600" b="0" cap="none" baseline="0"/>
            </a:lvl1pPr>
          </a:lstStyle>
          <a:p>
            <a:r>
              <a:rPr lang="en-US"/>
              <a:t>Click on the icon to insert image in placeholder and </a:t>
            </a:r>
            <a:br>
              <a:rPr lang="en-US"/>
            </a:br>
            <a:r>
              <a:rPr lang="en-US"/>
              <a:t>use the crop tool to center the imag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975BB0-510C-4403-944C-3F8C375494EE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8" name="Company name">
            <a:extLst>
              <a:ext uri="{FF2B5EF4-FFF2-40B4-BE49-F238E27FC236}">
                <a16:creationId xmlns:a16="http://schemas.microsoft.com/office/drawing/2014/main" id="{985A2BE9-49A3-4D91-9A7D-F27A002C7A2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4361" y="355824"/>
            <a:ext cx="4078578" cy="276999"/>
          </a:xfrm>
          <a:prstGeom prst="rect">
            <a:avLst/>
          </a:prstGeom>
        </p:spPr>
        <p:txBody>
          <a:bodyPr wrap="square" tIns="0" anchor="b" anchorCtr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 b="1" i="0" cap="none" baseline="0">
                <a:solidFill>
                  <a:schemeClr val="accent2"/>
                </a:solidFill>
                <a:latin typeface="Graphik Semibold" panose="020B0503030202060203" pitchFamily="34" charset="77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Company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3AC8A6-E8FF-4022-890E-5FB65EA4DC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360" y="746644"/>
            <a:ext cx="4078578" cy="1231913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326865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E9673F3F-F729-4631-BED7-FED0ADE758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169" y="6588493"/>
            <a:ext cx="438831" cy="26950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 b="0" i="0">
                <a:solidFill>
                  <a:schemeClr val="tx1"/>
                </a:solidFill>
                <a:latin typeface="Graphik" panose="020B0503030202060203" pitchFamily="34" charset="77"/>
                <a:cs typeface="Segoe UI Semibold" panose="020B0702040204020203" pitchFamily="34" charset="0"/>
              </a:defRPr>
            </a:lvl1pPr>
          </a:lstStyle>
          <a:p>
            <a:fld id="{0EE23A24-5E29-4F5A-B780-9568AE9A51DD}" type="slidenum">
              <a:rPr lang="en-PL" smtClean="0"/>
              <a:pPr/>
              <a:t>‹#›</a:t>
            </a:fld>
            <a:endParaRPr lang="en-PL"/>
          </a:p>
        </p:txBody>
      </p:sp>
    </p:spTree>
    <p:extLst>
      <p:ext uri="{BB962C8B-B14F-4D97-AF65-F5344CB8AC3E}">
        <p14:creationId xmlns:p14="http://schemas.microsoft.com/office/powerpoint/2010/main" val="290206406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45019" y="332077"/>
            <a:ext cx="11491382" cy="34471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sz="2800" spc="0">
                <a:solidFill>
                  <a:schemeClr val="tx1"/>
                </a:solidFill>
                <a:latin typeface="Graphik Black" panose="020B0A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60348E6-5543-453A-986B-9CF9B8A278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019" y="714365"/>
            <a:ext cx="11491382" cy="425708"/>
          </a:xfrm>
          <a:prstGeom prst="rect">
            <a:avLst/>
          </a:prstGeom>
        </p:spPr>
        <p:txBody>
          <a:bodyPr lIns="0" tIns="0" rIns="0" bIns="0"/>
          <a:lstStyle>
            <a:lvl1pPr algn="l" defTabSz="1734634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000" b="0" i="0" kern="1200" cap="none" spc="0" baseline="0" dirty="0">
                <a:solidFill>
                  <a:schemeClr val="accent1"/>
                </a:solidFill>
                <a:latin typeface="Graphik Black" panose="020B0A03030202060203" pitchFamily="34" charset="0"/>
                <a:ea typeface="Graphik Black" panose="020B0A03030202060203" pitchFamily="34" charset="0"/>
                <a:cs typeface="Graphik Black" panose="020B0A03030202060203" pitchFamily="34" charset="0"/>
              </a:defRPr>
            </a:lvl1pPr>
          </a:lstStyle>
          <a:p>
            <a:pPr lvl="0"/>
            <a:r>
              <a:rPr lang="en-US"/>
              <a:t>Click to edit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4140758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urora -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59817" y="1524000"/>
            <a:ext cx="5181600" cy="4351338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3817" y="1524000"/>
            <a:ext cx="4936414" cy="4351338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0231" y="6356350"/>
            <a:ext cx="496632" cy="365125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847DB54-D037-B84F-B6F1-2E8DA40D09A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5823201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97">
          <p15:clr>
            <a:srgbClr val="FBAE40"/>
          </p15:clr>
        </p15:guide>
        <p15:guide id="4" pos="7083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392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>
            <a:extLst>
              <a:ext uri="{FF2B5EF4-FFF2-40B4-BE49-F238E27FC236}">
                <a16:creationId xmlns:a16="http://schemas.microsoft.com/office/drawing/2014/main" id="{2F61C189-E88E-47C6-9590-4DDA84807E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16000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F3F98DC-635B-4F7B-9683-E77B24BCA3C2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79412" y="2214563"/>
            <a:ext cx="9961200" cy="38417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9D0C057-902E-4672-BC5C-A4E6DC8619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39734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10234C-451D-4E7A-978E-9149C22956E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9411" y="2214562"/>
            <a:ext cx="5544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913FF3-5E8B-41AA-94A1-F4AA28FA516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64275" y="2214562"/>
            <a:ext cx="5544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619DC44-9B98-430A-B97B-EF69DE5C4A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5400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s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4C416D66-6B95-48F7-9FB0-B95BAD09C3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15642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591809-FBD2-4002-800C-B479F8DF6C26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78000" y="2214563"/>
            <a:ext cx="5544000" cy="384174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01527E2-5E08-409E-A34A-135B8A194FB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264275" y="2214563"/>
            <a:ext cx="5544000" cy="384174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A3A4C6D-5A5C-48BD-B6B8-3DA1446C86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40202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DF5F7E-7617-43D2-B152-68B0836A97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78000" y="2214562"/>
            <a:ext cx="3582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DA8E03-1102-4085-98C9-F9B61291BEE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02329" y="2214562"/>
            <a:ext cx="3582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51F0277-50C4-4538-A470-D7433428139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6657" y="2214562"/>
            <a:ext cx="3582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41ACA55-677E-4E89-B5E2-D03A019829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66374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s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>
            <a:extLst>
              <a:ext uri="{FF2B5EF4-FFF2-40B4-BE49-F238E27FC236}">
                <a16:creationId xmlns:a16="http://schemas.microsoft.com/office/drawing/2014/main" id="{71927D01-A3FF-4204-B5DF-4AE350A462F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16000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61336A-DB63-44D5-9F70-939E9EAA328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78000" y="2214562"/>
            <a:ext cx="3582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CA02F35-EE56-4849-A21F-FE8FB47E072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302707" y="2214562"/>
            <a:ext cx="3582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34A3A8E-78C1-429B-81CB-462EB30FE36C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8227413" y="2214562"/>
            <a:ext cx="3582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31FB091-0A9A-4850-9031-668F0F280A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74433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5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24" Type="http://schemas.openxmlformats.org/officeDocument/2006/relationships/image" Target="../media/image3.emf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23" Type="http://schemas.openxmlformats.org/officeDocument/2006/relationships/oleObject" Target="../embeddings/oleObject2.bin"/><Relationship Id="rId10" Type="http://schemas.openxmlformats.org/officeDocument/2006/relationships/slideLayout" Target="../slideLayouts/slideLayout12.xml"/><Relationship Id="rId19" Type="http://schemas.openxmlformats.org/officeDocument/2006/relationships/slideLayout" Target="../slideLayouts/slideLayout21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Relationship Id="rId22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24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tags" Target="../tags/tag5.xml"/><Relationship Id="rId5" Type="http://schemas.openxmlformats.org/officeDocument/2006/relationships/theme" Target="../theme/theme3.xml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25.xml"/><Relationship Id="rId9" Type="http://schemas.openxmlformats.org/officeDocument/2006/relationships/image" Target="../media/image5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oleObject" Target="../embeddings/oleObject4.bin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ags" Target="../tags/tag7.xml"/><Relationship Id="rId2" Type="http://schemas.openxmlformats.org/officeDocument/2006/relationships/slideLayout" Target="../slideLayouts/slideLayout27.xml"/><Relationship Id="rId16" Type="http://schemas.openxmlformats.org/officeDocument/2006/relationships/image" Target="../media/image8.png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0.xml"/><Relationship Id="rId15" Type="http://schemas.openxmlformats.org/officeDocument/2006/relationships/image" Target="../media/image7.png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image" Target="../media/image4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tags" Target="../tags/tag9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theme" Target="../theme/theme5.xml"/><Relationship Id="rId17" Type="http://schemas.openxmlformats.org/officeDocument/2006/relationships/image" Target="../media/image8.png"/><Relationship Id="rId2" Type="http://schemas.openxmlformats.org/officeDocument/2006/relationships/slideLayout" Target="../slideLayouts/slideLayout37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image" Target="../media/image4.emf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oleObject" Target="../embeddings/oleObject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99237B9-7FF2-48F5-B86B-4208FDC672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253386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99237B9-7FF2-48F5-B86B-4208FDC672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94944" y="390719"/>
            <a:ext cx="10789921" cy="99834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4945" y="1524000"/>
            <a:ext cx="1078992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2218648" y="576694"/>
            <a:ext cx="155791" cy="5275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/>
          <p:cNvSpPr/>
          <p:nvPr userDrawn="1"/>
        </p:nvSpPr>
        <p:spPr>
          <a:xfrm>
            <a:off x="12218648" y="1153388"/>
            <a:ext cx="155791" cy="52753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tangle 12"/>
          <p:cNvSpPr/>
          <p:nvPr userDrawn="1"/>
        </p:nvSpPr>
        <p:spPr>
          <a:xfrm>
            <a:off x="12215747" y="2306776"/>
            <a:ext cx="155791" cy="5275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tangle 13"/>
          <p:cNvSpPr/>
          <p:nvPr userDrawn="1"/>
        </p:nvSpPr>
        <p:spPr>
          <a:xfrm>
            <a:off x="12215747" y="2883470"/>
            <a:ext cx="155791" cy="5275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/>
          <p:cNvSpPr/>
          <p:nvPr userDrawn="1"/>
        </p:nvSpPr>
        <p:spPr>
          <a:xfrm>
            <a:off x="12215747" y="3460164"/>
            <a:ext cx="155791" cy="52753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/>
          <p:cNvSpPr/>
          <p:nvPr userDrawn="1"/>
        </p:nvSpPr>
        <p:spPr>
          <a:xfrm>
            <a:off x="12215747" y="4036858"/>
            <a:ext cx="155791" cy="527538"/>
          </a:xfrm>
          <a:prstGeom prst="rect">
            <a:avLst/>
          </a:prstGeom>
          <a:solidFill>
            <a:srgbClr val="006EC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/>
          <p:cNvSpPr/>
          <p:nvPr userDrawn="1"/>
        </p:nvSpPr>
        <p:spPr>
          <a:xfrm>
            <a:off x="12215747" y="1730082"/>
            <a:ext cx="155791" cy="527538"/>
          </a:xfrm>
          <a:prstGeom prst="rect">
            <a:avLst/>
          </a:prstGeom>
          <a:solidFill>
            <a:srgbClr val="890078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 17"/>
          <p:cNvSpPr/>
          <p:nvPr userDrawn="1"/>
        </p:nvSpPr>
        <p:spPr>
          <a:xfrm>
            <a:off x="12382950" y="576694"/>
            <a:ext cx="155791" cy="527538"/>
          </a:xfrm>
          <a:prstGeom prst="rect">
            <a:avLst/>
          </a:prstGeom>
          <a:solidFill>
            <a:srgbClr val="A5064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/>
          <p:cNvSpPr/>
          <p:nvPr userDrawn="1"/>
        </p:nvSpPr>
        <p:spPr>
          <a:xfrm>
            <a:off x="12382950" y="1153388"/>
            <a:ext cx="155791" cy="527538"/>
          </a:xfrm>
          <a:prstGeom prst="rect">
            <a:avLst/>
          </a:prstGeom>
          <a:solidFill>
            <a:srgbClr val="9E120E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tangle 19"/>
          <p:cNvSpPr/>
          <p:nvPr userDrawn="1"/>
        </p:nvSpPr>
        <p:spPr>
          <a:xfrm>
            <a:off x="12380049" y="2306776"/>
            <a:ext cx="155791" cy="527538"/>
          </a:xfrm>
          <a:prstGeom prst="rect">
            <a:avLst/>
          </a:prstGeom>
          <a:solidFill>
            <a:srgbClr val="E6A61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ectangle 20"/>
          <p:cNvSpPr/>
          <p:nvPr userDrawn="1"/>
        </p:nvSpPr>
        <p:spPr>
          <a:xfrm>
            <a:off x="12380049" y="2883470"/>
            <a:ext cx="155791" cy="527538"/>
          </a:xfrm>
          <a:prstGeom prst="rect">
            <a:avLst/>
          </a:prstGeom>
          <a:solidFill>
            <a:srgbClr val="05732A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ectangle 21"/>
          <p:cNvSpPr/>
          <p:nvPr userDrawn="1"/>
        </p:nvSpPr>
        <p:spPr>
          <a:xfrm>
            <a:off x="12380049" y="3460164"/>
            <a:ext cx="155791" cy="527538"/>
          </a:xfrm>
          <a:prstGeom prst="rect">
            <a:avLst/>
          </a:prstGeom>
          <a:solidFill>
            <a:srgbClr val="005F6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Rectangle 22"/>
          <p:cNvSpPr/>
          <p:nvPr userDrawn="1"/>
        </p:nvSpPr>
        <p:spPr>
          <a:xfrm>
            <a:off x="12380049" y="4036858"/>
            <a:ext cx="155791" cy="527538"/>
          </a:xfrm>
          <a:prstGeom prst="rect">
            <a:avLst/>
          </a:prstGeom>
          <a:solidFill>
            <a:srgbClr val="05508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Rectangle 23"/>
          <p:cNvSpPr/>
          <p:nvPr userDrawn="1"/>
        </p:nvSpPr>
        <p:spPr>
          <a:xfrm>
            <a:off x="12380049" y="1730082"/>
            <a:ext cx="155791" cy="527538"/>
          </a:xfrm>
          <a:prstGeom prst="rect">
            <a:avLst/>
          </a:prstGeom>
          <a:solidFill>
            <a:srgbClr val="5A1455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Rectangle 24"/>
          <p:cNvSpPr/>
          <p:nvPr userDrawn="1"/>
        </p:nvSpPr>
        <p:spPr>
          <a:xfrm>
            <a:off x="12218648" y="0"/>
            <a:ext cx="155791" cy="5275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Rectangle 25"/>
          <p:cNvSpPr/>
          <p:nvPr userDrawn="1"/>
        </p:nvSpPr>
        <p:spPr>
          <a:xfrm>
            <a:off x="12382950" y="0"/>
            <a:ext cx="155791" cy="527538"/>
          </a:xfrm>
          <a:prstGeom prst="rect">
            <a:avLst/>
          </a:prstGeom>
          <a:solidFill>
            <a:srgbClr val="CC460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3487A4F-6663-4B11-A57C-4B1187B8FC92}"/>
              </a:ext>
            </a:extLst>
          </p:cNvPr>
          <p:cNvSpPr/>
          <p:nvPr userDrawn="1"/>
        </p:nvSpPr>
        <p:spPr>
          <a:xfrm>
            <a:off x="694944" y="0"/>
            <a:ext cx="10789920" cy="45719"/>
          </a:xfrm>
          <a:prstGeom prst="rect">
            <a:avLst/>
          </a:prstGeom>
          <a:gradFill>
            <a:gsLst>
              <a:gs pos="80000">
                <a:srgbClr val="FF5800"/>
              </a:gs>
              <a:gs pos="0">
                <a:srgbClr val="FFD700"/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Slide Number Placeholder 2">
            <a:extLst>
              <a:ext uri="{FF2B5EF4-FFF2-40B4-BE49-F238E27FC236}">
                <a16:creationId xmlns:a16="http://schemas.microsoft.com/office/drawing/2014/main" id="{18CD0548-9E46-DA43-A090-8E91594FD2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53102" y="6217537"/>
            <a:ext cx="4388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fld id="{0EE23A24-5E29-4F5A-B780-9568AE9A51D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7D415F4-5910-4A95-9C8B-5C8E7AE7B45E}"/>
              </a:ext>
            </a:extLst>
          </p:cNvPr>
          <p:cNvSpPr txBox="1"/>
          <p:nvPr userDrawn="1"/>
        </p:nvSpPr>
        <p:spPr>
          <a:xfrm>
            <a:off x="8288073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AU" sz="800">
                <a:solidFill>
                  <a:schemeClr val="tx1">
                    <a:alpha val="75000"/>
                  </a:schemeClr>
                </a:solidFill>
              </a:rPr>
              <a:t>Copyright © 2021 Accenture. All rights reserved. Confidential. </a:t>
            </a:r>
            <a:endParaRPr lang="en-AU" noProof="0">
              <a:solidFill>
                <a:schemeClr val="tx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60189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4000" r:id="rId2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chemeClr val="tx1"/>
          </a:solidFill>
          <a:latin typeface="Segoe UI Semibold" panose="020B0502040204020203" pitchFamily="34" charset="0"/>
          <a:ea typeface="Segoe UI Semibold" panose="020B0502040204020203" pitchFamily="34" charset="0"/>
          <a:cs typeface="Segoe UI Semibold" panose="020B0502040204020203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/>
        <a:buNone/>
        <a:defRPr sz="20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6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4127ECF-3B2C-4958-A53B-DD06F97F17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16" imgH="416" progId="TCLayout.ActiveDocument.1">
                  <p:embed/>
                </p:oleObj>
              </mc:Choice>
              <mc:Fallback>
                <p:oleObj name="think-cell Slide" r:id="rId23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4127ECF-3B2C-4958-A53B-DD06F97F17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4121DC9-ED73-4C84-A33E-7697EF8A09C2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Graphik Black" panose="020B0A03030202060203" pitchFamily="34" charset="0"/>
              <a:ea typeface="+mj-ea"/>
              <a:cs typeface="+mj-cs"/>
              <a:sym typeface="Graphik Black" panose="020B0A0303020206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B6398B6-6443-4D67-A365-3AF9C47C4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360" y="384069"/>
            <a:ext cx="9961200" cy="721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FFFA29-D1E3-47B0-8A22-1D402B88F9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9414" y="1828800"/>
            <a:ext cx="9959886" cy="42276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2C4EA6-96D4-4758-892E-0B9855AA29C6}"/>
              </a:ext>
            </a:extLst>
          </p:cNvPr>
          <p:cNvSpPr txBox="1"/>
          <p:nvPr userDrawn="1"/>
        </p:nvSpPr>
        <p:spPr>
          <a:xfrm>
            <a:off x="11583626" y="6414756"/>
            <a:ext cx="23594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D79F6B-D2B4-41B8-B8FC-E52BF754EDA5}" type="slidenum">
              <a:rPr lang="en-US" sz="800" smtClean="0"/>
              <a:t>‹#›</a:t>
            </a:fld>
            <a:endParaRPr lang="en-AU" sz="800"/>
          </a:p>
        </p:txBody>
      </p:sp>
    </p:spTree>
    <p:extLst>
      <p:ext uri="{BB962C8B-B14F-4D97-AF65-F5344CB8AC3E}">
        <p14:creationId xmlns:p14="http://schemas.microsoft.com/office/powerpoint/2010/main" val="2765298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55" r:id="rId11"/>
    <p:sldLayoutId id="2147483856" r:id="rId12"/>
    <p:sldLayoutId id="2147483857" r:id="rId13"/>
    <p:sldLayoutId id="2147483858" r:id="rId14"/>
    <p:sldLayoutId id="2147483859" r:id="rId15"/>
    <p:sldLayoutId id="2147483860" r:id="rId16"/>
    <p:sldLayoutId id="2147483861" r:id="rId17"/>
    <p:sldLayoutId id="2147483863" r:id="rId18"/>
    <p:sldLayoutId id="2147483864" r:id="rId19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43600" indent="-18000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95">
          <p15:clr>
            <a:srgbClr val="F26B43"/>
          </p15:clr>
        </p15:guide>
        <p15:guide id="2" pos="239">
          <p15:clr>
            <a:srgbClr val="F26B43"/>
          </p15:clr>
        </p15:guide>
        <p15:guide id="3" pos="950">
          <p15:clr>
            <a:srgbClr val="F26B43"/>
          </p15:clr>
        </p15:guide>
        <p15:guide id="4" pos="1165">
          <p15:clr>
            <a:srgbClr val="F26B43"/>
          </p15:clr>
        </p15:guide>
        <p15:guide id="5" pos="1877">
          <p15:clr>
            <a:srgbClr val="F26B43"/>
          </p15:clr>
        </p15:guide>
        <p15:guide id="6" pos="2093">
          <p15:clr>
            <a:srgbClr val="F26B43"/>
          </p15:clr>
        </p15:guide>
        <p15:guide id="7" pos="2805">
          <p15:clr>
            <a:srgbClr val="F26B43"/>
          </p15:clr>
        </p15:guide>
        <p15:guide id="8" pos="3020">
          <p15:clr>
            <a:srgbClr val="F26B43"/>
          </p15:clr>
        </p15:guide>
        <p15:guide id="9" pos="3731">
          <p15:clr>
            <a:srgbClr val="F26B43"/>
          </p15:clr>
        </p15:guide>
        <p15:guide id="10" pos="3946">
          <p15:clr>
            <a:srgbClr val="F26B43"/>
          </p15:clr>
        </p15:guide>
        <p15:guide id="11" pos="4659">
          <p15:clr>
            <a:srgbClr val="F26B43"/>
          </p15:clr>
        </p15:guide>
        <p15:guide id="12" pos="4873">
          <p15:clr>
            <a:srgbClr val="F26B43"/>
          </p15:clr>
        </p15:guide>
        <p15:guide id="13" pos="5585">
          <p15:clr>
            <a:srgbClr val="F26B43"/>
          </p15:clr>
        </p15:guide>
        <p15:guide id="14" pos="5800">
          <p15:clr>
            <a:srgbClr val="F26B43"/>
          </p15:clr>
        </p15:guide>
        <p15:guide id="15" pos="6512">
          <p15:clr>
            <a:srgbClr val="F26B43"/>
          </p15:clr>
        </p15:guide>
        <p15:guide id="16" pos="6727">
          <p15:clr>
            <a:srgbClr val="F26B43"/>
          </p15:clr>
        </p15:guide>
        <p15:guide id="17" pos="7439">
          <p15:clr>
            <a:srgbClr val="F26B43"/>
          </p15:clr>
        </p15:guide>
        <p15:guide id="18" orient="horz" pos="4103">
          <p15:clr>
            <a:srgbClr val="F26B43"/>
          </p15:clr>
        </p15:guide>
        <p15:guide id="19" orient="horz" pos="3815">
          <p15:clr>
            <a:srgbClr val="F26B43"/>
          </p15:clr>
        </p15:guide>
        <p15:guide id="20" orient="horz" pos="2614">
          <p15:clr>
            <a:srgbClr val="F26B43"/>
          </p15:clr>
        </p15:guide>
        <p15:guide id="21" orient="horz" pos="1152">
          <p15:clr>
            <a:srgbClr val="F26B43"/>
          </p15:clr>
        </p15:guide>
        <p15:guide id="22" orient="horz" pos="240">
          <p15:clr>
            <a:srgbClr val="F26B43"/>
          </p15:clr>
        </p15:guide>
        <p15:guide id="23" pos="480">
          <p15:clr>
            <a:srgbClr val="5ACBF0"/>
          </p15:clr>
        </p15:guide>
        <p15:guide id="24" orient="horz" pos="480">
          <p15:clr>
            <a:srgbClr val="5ACBF0"/>
          </p15:clr>
        </p15:guide>
        <p15:guide id="25" pos="7198">
          <p15:clr>
            <a:srgbClr val="5ACBF0"/>
          </p15:clr>
        </p15:guide>
        <p15:guide id="26" orient="horz" pos="4214">
          <p15:clr>
            <a:srgbClr val="5ACBF0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D5B59A-3457-44AC-9C8B-B73CEE7242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649251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D5B59A-3457-44AC-9C8B-B73CEE7242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24">
            <a:extLst>
              <a:ext uri="{FF2B5EF4-FFF2-40B4-BE49-F238E27FC236}">
                <a16:creationId xmlns:a16="http://schemas.microsoft.com/office/drawing/2014/main" id="{8DEAF7F0-ADBE-DA4B-80DE-727BD0E615AA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alpha val="75000"/>
                  </a:schemeClr>
                </a:solidFill>
              </a:rPr>
              <a:t>Copyright © 2022 Accenture/Avanade. All rights reserved.</a:t>
            </a:r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 userDrawn="1"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#›</a:t>
            </a:fld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C2DB82-2141-42CD-9AE7-8A744B363FBC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noFill/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pic>
        <p:nvPicPr>
          <p:cNvPr id="14" name="Picture 13" descr="AvanadeLogoNoTM_AWColor_RGB.png">
            <a:extLst>
              <a:ext uri="{FF2B5EF4-FFF2-40B4-BE49-F238E27FC236}">
                <a16:creationId xmlns:a16="http://schemas.microsoft.com/office/drawing/2014/main" id="{3DB7AC2C-A9F3-4D51-875B-60CA03D536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470" b="15810"/>
          <a:stretch/>
        </p:blipFill>
        <p:spPr>
          <a:xfrm>
            <a:off x="1211977" y="6470444"/>
            <a:ext cx="1148452" cy="293855"/>
          </a:xfrm>
          <a:prstGeom prst="rect">
            <a:avLst/>
          </a:prstGeom>
        </p:spPr>
      </p:pic>
      <p:pic>
        <p:nvPicPr>
          <p:cNvPr id="15" name="Acc_CoreBrand_Logo_Black_Purple">
            <a:extLst>
              <a:ext uri="{FF2B5EF4-FFF2-40B4-BE49-F238E27FC236}">
                <a16:creationId xmlns:a16="http://schemas.microsoft.com/office/drawing/2014/main" id="{B9AB9BE8-B69D-49BE-8791-332B57EF2721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81000" y="6483127"/>
            <a:ext cx="788581" cy="211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6494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5" r:id="rId1"/>
    <p:sldLayoutId id="2147483917" r:id="rId2"/>
    <p:sldLayoutId id="2147483922" r:id="rId3"/>
    <p:sldLayoutId id="2147483924" r:id="rId4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5ACBF0"/>
          </p15:clr>
        </p15:guide>
        <p15:guide id="3" pos="240">
          <p15:clr>
            <a:srgbClr val="5ACBF0"/>
          </p15:clr>
        </p15:guide>
        <p15:guide id="4" pos="7440">
          <p15:clr>
            <a:srgbClr val="5ACBF0"/>
          </p15:clr>
        </p15:guide>
        <p15:guide id="7" orient="horz" pos="4056">
          <p15:clr>
            <a:srgbClr val="5ACBF0"/>
          </p15:clr>
        </p15:guide>
        <p15:guide id="9" orient="horz" pos="576">
          <p15:clr>
            <a:srgbClr val="5ACBF0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D5B59A-3457-44AC-9C8B-B73CEE7242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93018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95" imgH="396" progId="TCLayout.ActiveDocument.1">
                  <p:embed/>
                </p:oleObj>
              </mc:Choice>
              <mc:Fallback>
                <p:oleObj name="think-cell Slide" r:id="rId13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D5B59A-3457-44AC-9C8B-B73CEE7242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24">
            <a:extLst>
              <a:ext uri="{FF2B5EF4-FFF2-40B4-BE49-F238E27FC236}">
                <a16:creationId xmlns:a16="http://schemas.microsoft.com/office/drawing/2014/main" id="{8DEAF7F0-ADBE-DA4B-80DE-727BD0E615AA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alpha val="75000"/>
                  </a:schemeClr>
                </a:solidFill>
              </a:rPr>
              <a:t>Copyright © 2022 Accenture/Avanade. All rights reserved.</a:t>
            </a:r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 userDrawn="1"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#›</a:t>
            </a:fld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C2DB82-2141-42CD-9AE7-8A744B363FBC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noFill/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95325" y="381000"/>
            <a:ext cx="10764838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pic>
        <p:nvPicPr>
          <p:cNvPr id="14" name="Picture 13" descr="AvanadeLogoNoTM_AWColor_RGB.png">
            <a:extLst>
              <a:ext uri="{FF2B5EF4-FFF2-40B4-BE49-F238E27FC236}">
                <a16:creationId xmlns:a16="http://schemas.microsoft.com/office/drawing/2014/main" id="{3DB7AC2C-A9F3-4D51-875B-60CA03D536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11977" y="6470444"/>
            <a:ext cx="1148452" cy="293855"/>
          </a:xfrm>
          <a:prstGeom prst="rect">
            <a:avLst/>
          </a:prstGeom>
        </p:spPr>
      </p:pic>
      <p:pic>
        <p:nvPicPr>
          <p:cNvPr id="15" name="Acc_CoreBrand_Logo_Black_Purple">
            <a:extLst>
              <a:ext uri="{FF2B5EF4-FFF2-40B4-BE49-F238E27FC236}">
                <a16:creationId xmlns:a16="http://schemas.microsoft.com/office/drawing/2014/main" id="{B9AB9BE8-B69D-49BE-8791-332B57EF272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483127"/>
            <a:ext cx="788581" cy="211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5674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953" r:id="rId3"/>
    <p:sldLayoutId id="2147483954" r:id="rId4"/>
    <p:sldLayoutId id="2147483955" r:id="rId5"/>
    <p:sldLayoutId id="2147483957" r:id="rId6"/>
    <p:sldLayoutId id="2147483958" r:id="rId7"/>
    <p:sldLayoutId id="2147483959" r:id="rId8"/>
    <p:sldLayoutId id="2147483960" r:id="rId9"/>
    <p:sldLayoutId id="2147483961" r:id="rId10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5ACBF0"/>
          </p15:clr>
        </p15:guide>
        <p15:guide id="3" pos="240">
          <p15:clr>
            <a:srgbClr val="5ACBF0"/>
          </p15:clr>
        </p15:guide>
        <p15:guide id="4" pos="7440">
          <p15:clr>
            <a:srgbClr val="5ACBF0"/>
          </p15:clr>
        </p15:guide>
        <p15:guide id="7" orient="horz" pos="4056">
          <p15:clr>
            <a:srgbClr val="5ACBF0"/>
          </p15:clr>
        </p15:guide>
        <p15:guide id="9" orient="horz" pos="576">
          <p15:clr>
            <a:srgbClr val="5ACBF0"/>
          </p15:clr>
        </p15:guide>
        <p15:guide id="11" pos="438">
          <p15:clr>
            <a:srgbClr val="5ACBF0"/>
          </p15:clr>
        </p15:guide>
        <p15:guide id="12" pos="7219">
          <p15:clr>
            <a:srgbClr val="5ACBF0"/>
          </p15:clr>
        </p15:guide>
        <p15:guide id="13" pos="3840">
          <p15:clr>
            <a:srgbClr val="5ACBF0"/>
          </p15:clr>
        </p15:guide>
        <p15:guide id="14" pos="3727">
          <p15:clr>
            <a:srgbClr val="5ACBF0"/>
          </p15:clr>
        </p15:guide>
        <p15:guide id="15" pos="3953">
          <p15:clr>
            <a:srgbClr val="5ACBF0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D5B59A-3457-44AC-9C8B-B73CEE7242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6400308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D5B59A-3457-44AC-9C8B-B73CEE7242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24">
            <a:extLst>
              <a:ext uri="{FF2B5EF4-FFF2-40B4-BE49-F238E27FC236}">
                <a16:creationId xmlns:a16="http://schemas.microsoft.com/office/drawing/2014/main" id="{8DEAF7F0-ADBE-DA4B-80DE-727BD0E615AA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alpha val="75000"/>
                  </a:schemeClr>
                </a:solidFill>
              </a:rPr>
              <a:t>Copyright © 2022 Accenture/Avanade. All rights reserved.</a:t>
            </a:r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 userDrawn="1"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#›</a:t>
            </a:fld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C2DB82-2141-42CD-9AE7-8A744B363FBC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noFill/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95325" y="381000"/>
            <a:ext cx="10764838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pic>
        <p:nvPicPr>
          <p:cNvPr id="14" name="Picture 13" descr="AvanadeLogoNoTM_AWColor_RGB.png">
            <a:extLst>
              <a:ext uri="{FF2B5EF4-FFF2-40B4-BE49-F238E27FC236}">
                <a16:creationId xmlns:a16="http://schemas.microsoft.com/office/drawing/2014/main" id="{3DB7AC2C-A9F3-4D51-875B-60CA03D536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11977" y="6470444"/>
            <a:ext cx="1148452" cy="293855"/>
          </a:xfrm>
          <a:prstGeom prst="rect">
            <a:avLst/>
          </a:prstGeom>
        </p:spPr>
      </p:pic>
      <p:pic>
        <p:nvPicPr>
          <p:cNvPr id="15" name="Acc_CoreBrand_Logo_Black_Purple">
            <a:extLst>
              <a:ext uri="{FF2B5EF4-FFF2-40B4-BE49-F238E27FC236}">
                <a16:creationId xmlns:a16="http://schemas.microsoft.com/office/drawing/2014/main" id="{B9AB9BE8-B69D-49BE-8791-332B57EF2721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483127"/>
            <a:ext cx="788581" cy="211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18558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3" r:id="rId1"/>
    <p:sldLayoutId id="2147483964" r:id="rId2"/>
    <p:sldLayoutId id="2147483987" r:id="rId3"/>
    <p:sldLayoutId id="2147483990" r:id="rId4"/>
    <p:sldLayoutId id="2147483991" r:id="rId5"/>
    <p:sldLayoutId id="2147483992" r:id="rId6"/>
    <p:sldLayoutId id="2147483994" r:id="rId7"/>
    <p:sldLayoutId id="2147483995" r:id="rId8"/>
    <p:sldLayoutId id="2147483996" r:id="rId9"/>
    <p:sldLayoutId id="2147483997" r:id="rId10"/>
    <p:sldLayoutId id="2147483998" r:id="rId11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5ACBF0"/>
          </p15:clr>
        </p15:guide>
        <p15:guide id="3" pos="240">
          <p15:clr>
            <a:srgbClr val="5ACBF0"/>
          </p15:clr>
        </p15:guide>
        <p15:guide id="4" pos="7440">
          <p15:clr>
            <a:srgbClr val="5ACBF0"/>
          </p15:clr>
        </p15:guide>
        <p15:guide id="7" orient="horz" pos="4056">
          <p15:clr>
            <a:srgbClr val="5ACBF0"/>
          </p15:clr>
        </p15:guide>
        <p15:guide id="9" orient="horz" pos="576">
          <p15:clr>
            <a:srgbClr val="5ACBF0"/>
          </p15:clr>
        </p15:guide>
        <p15:guide id="11" pos="438">
          <p15:clr>
            <a:srgbClr val="5ACBF0"/>
          </p15:clr>
        </p15:guide>
        <p15:guide id="12" pos="7219">
          <p15:clr>
            <a:srgbClr val="5ACBF0"/>
          </p15:clr>
        </p15:guide>
        <p15:guide id="13" pos="3840">
          <p15:clr>
            <a:srgbClr val="5ACBF0"/>
          </p15:clr>
        </p15:guide>
        <p15:guide id="14" pos="3727">
          <p15:clr>
            <a:srgbClr val="5ACBF0"/>
          </p15:clr>
        </p15:guide>
        <p15:guide id="15" pos="3953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19.jpe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2.xml"/><Relationship Id="rId6" Type="http://schemas.openxmlformats.org/officeDocument/2006/relationships/image" Target="../media/image2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>
            <a:extLst>
              <a:ext uri="{FF2B5EF4-FFF2-40B4-BE49-F238E27FC236}">
                <a16:creationId xmlns:a16="http://schemas.microsoft.com/office/drawing/2014/main" id="{C6E3B756-37E7-4B4D-A2B4-32D422D1451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9043"/>
          <a:stretch/>
        </p:blipFill>
        <p:spPr bwMode="auto">
          <a:xfrm flipH="1">
            <a:off x="6831" y="0"/>
            <a:ext cx="523502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>
            <a:extLst>
              <a:ext uri="{FF2B5EF4-FFF2-40B4-BE49-F238E27FC236}">
                <a16:creationId xmlns:a16="http://schemas.microsoft.com/office/drawing/2014/main" id="{28C33AE7-730D-4E16-97AB-FAA945E804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320" r="25320"/>
          <a:stretch/>
        </p:blipFill>
        <p:spPr bwMode="auto">
          <a:xfrm>
            <a:off x="0" y="0"/>
            <a:ext cx="603207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D62A5F4-995F-4148-9843-F04736B93C25}"/>
              </a:ext>
            </a:extLst>
          </p:cNvPr>
          <p:cNvSpPr/>
          <p:nvPr/>
        </p:nvSpPr>
        <p:spPr>
          <a:xfrm>
            <a:off x="6831" y="0"/>
            <a:ext cx="12192000" cy="6858002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</a:schemeClr>
              </a:gs>
              <a:gs pos="70000">
                <a:schemeClr val="tx1">
                  <a:alpha val="30000"/>
                </a:schemeClr>
              </a:gs>
              <a:gs pos="100000">
                <a:schemeClr val="tx1">
                  <a:alpha val="7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8A6F256-850E-44D7-AEFA-2E0CD2C75C0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 flipV="1">
            <a:off x="3462337" y="0"/>
            <a:ext cx="8729663" cy="685800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617812B-589B-45E6-9443-3FBB38A53F31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52718" y="6342070"/>
            <a:ext cx="1312223" cy="331466"/>
          </a:xfrm>
          <a:prstGeom prst="rect">
            <a:avLst/>
          </a:prstGeom>
        </p:spPr>
      </p:pic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6DDEEFC6-C43D-4558-AC36-A887E86E2F0F}"/>
              </a:ext>
            </a:extLst>
          </p:cNvPr>
          <p:cNvSpPr txBox="1">
            <a:spLocks/>
          </p:cNvSpPr>
          <p:nvPr/>
        </p:nvSpPr>
        <p:spPr>
          <a:xfrm>
            <a:off x="4754880" y="1584000"/>
            <a:ext cx="7036627" cy="3599528"/>
          </a:xfrm>
          <a:prstGeom prst="rect">
            <a:avLst/>
          </a:prstGeom>
        </p:spPr>
        <p:txBody>
          <a:bodyPr/>
          <a:lstStyle>
            <a:lvl1pPr marL="0" indent="0" algn="l" defTabSz="914126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999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685594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799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 marL="1142657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 marL="1599720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 marL="2056783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  <a:lvl6pPr marL="2513846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40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io Tinto </a:t>
            </a:r>
          </a:p>
          <a:p>
            <a:pPr>
              <a:spcBef>
                <a:spcPts val="0"/>
              </a:spcBef>
            </a:pPr>
            <a:endParaRPr lang="en-US" sz="36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Bef>
                <a:spcPts val="0"/>
              </a:spcBef>
            </a:pPr>
            <a:r>
              <a:rPr lang="en-US" sz="36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ilot Planning</a:t>
            </a:r>
            <a:endParaRPr lang="en-US" sz="28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F447BED0-07AF-4712-975C-7550266F020A}"/>
              </a:ext>
            </a:extLst>
          </p:cNvPr>
          <p:cNvSpPr txBox="1">
            <a:spLocks/>
          </p:cNvSpPr>
          <p:nvPr/>
        </p:nvSpPr>
        <p:spPr>
          <a:xfrm>
            <a:off x="5050789" y="4217445"/>
            <a:ext cx="6444808" cy="64405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126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999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685594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799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 marL="1142657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 marL="1599720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 marL="2056783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b="0" i="0" kern="120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  <a:lvl6pPr marL="2513846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sz="18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lanning and Approach</a:t>
            </a:r>
          </a:p>
          <a:p>
            <a:pPr>
              <a:lnSpc>
                <a:spcPct val="150000"/>
              </a:lnSpc>
            </a:pPr>
            <a:endParaRPr lang="en-US" sz="1800">
              <a:solidFill>
                <a:schemeClr val="bg1"/>
              </a:solidFill>
              <a:latin typeface="Segoe UI"/>
              <a:cs typeface="Segoe UI"/>
            </a:endParaRPr>
          </a:p>
          <a:p>
            <a:pPr>
              <a:lnSpc>
                <a:spcPct val="150000"/>
              </a:lnSpc>
            </a:pPr>
            <a:endParaRPr lang="en-US" sz="1800">
              <a:solidFill>
                <a:schemeClr val="bg1"/>
              </a:solidFill>
              <a:latin typeface="Segoe UI"/>
              <a:cs typeface="Segoe UI"/>
            </a:endParaRPr>
          </a:p>
          <a:p>
            <a:pPr>
              <a:lnSpc>
                <a:spcPct val="150000"/>
              </a:lnSpc>
            </a:pPr>
            <a:r>
              <a:rPr lang="en-US" sz="1200">
                <a:solidFill>
                  <a:schemeClr val="bg1"/>
                </a:solidFill>
                <a:latin typeface="Segoe UI"/>
                <a:cs typeface="Segoe UI"/>
              </a:rPr>
              <a:t>Commercial in confidence</a:t>
            </a:r>
          </a:p>
        </p:txBody>
      </p:sp>
      <p:pic>
        <p:nvPicPr>
          <p:cNvPr id="10" name="Acc_CoreBrand_Logo_Black_Purple">
            <a:extLst>
              <a:ext uri="{FF2B5EF4-FFF2-40B4-BE49-F238E27FC236}">
                <a16:creationId xmlns:a16="http://schemas.microsoft.com/office/drawing/2014/main" id="{CD3FCD3D-9A6F-4B06-BE10-AACD9205A0E8}"/>
              </a:ext>
            </a:extLst>
          </p:cNvPr>
          <p:cNvPicPr>
            <a:picLocks noChangeAspect="1"/>
          </p:cNvPicPr>
          <p:nvPr/>
        </p:nvPicPr>
        <p:blipFill>
          <a:blip r:embed="rId7">
            <a:lum bright="70000" contrast="-70000"/>
            <a:alphaModFix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Photocopy/>
                    </a14:imgEffect>
                    <a14:imgEffect>
                      <a14:colorTemperature colorTemp="1500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49613" y="6322050"/>
            <a:ext cx="1131724" cy="303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810088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2302464-95E1-4D00-A4FB-B08791DF87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2302464-95E1-4D00-A4FB-B08791DF87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ADD7D3D0-A076-4CAC-8EBC-578C41431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9664"/>
            <a:ext cx="11430000" cy="990601"/>
          </a:xfrm>
        </p:spPr>
        <p:txBody>
          <a:bodyPr/>
          <a:lstStyle/>
          <a:p>
            <a:r>
              <a:rPr lang="en-US" sz="2800"/>
              <a:t>High Level Discovery overview</a:t>
            </a:r>
            <a:endParaRPr lang="en-AU" sz="3600"/>
          </a:p>
        </p:txBody>
      </p:sp>
      <p:grpSp>
        <p:nvGrpSpPr>
          <p:cNvPr id="238" name="Group 237">
            <a:extLst>
              <a:ext uri="{FF2B5EF4-FFF2-40B4-BE49-F238E27FC236}">
                <a16:creationId xmlns:a16="http://schemas.microsoft.com/office/drawing/2014/main" id="{C3A95B6D-E9FA-4D40-B76F-20DFAA8FC6D9}"/>
              </a:ext>
            </a:extLst>
          </p:cNvPr>
          <p:cNvGrpSpPr/>
          <p:nvPr/>
        </p:nvGrpSpPr>
        <p:grpSpPr>
          <a:xfrm>
            <a:off x="2726638" y="-11433785"/>
            <a:ext cx="2010399" cy="24596"/>
            <a:chOff x="399776" y="2775464"/>
            <a:chExt cx="1343026" cy="24596"/>
          </a:xfrm>
        </p:grpSpPr>
        <p:cxnSp>
          <p:nvCxnSpPr>
            <p:cNvPr id="239" name="Straight Connector 238">
              <a:extLst>
                <a:ext uri="{FF2B5EF4-FFF2-40B4-BE49-F238E27FC236}">
                  <a16:creationId xmlns:a16="http://schemas.microsoft.com/office/drawing/2014/main" id="{E0E009CD-DF09-440D-8728-75838E4AB5EA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ln w="1270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9F31A69C-59F8-4D5D-B5A9-495532564F30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b="0" i="0" u="none" strike="noStrike" kern="120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Build remediation artefacts</a:t>
              </a: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E7208112-0021-4509-A748-047E6F786998}"/>
              </a:ext>
            </a:extLst>
          </p:cNvPr>
          <p:cNvGrpSpPr/>
          <p:nvPr/>
        </p:nvGrpSpPr>
        <p:grpSpPr>
          <a:xfrm>
            <a:off x="2713824" y="-10481886"/>
            <a:ext cx="2010399" cy="24596"/>
            <a:chOff x="399776" y="2775464"/>
            <a:chExt cx="1343026" cy="24596"/>
          </a:xfrm>
        </p:grpSpPr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EFD3E219-B158-4F0B-8611-AC5D9DD02B2E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ln w="1270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E4B6AE65-AE5C-438A-A8AD-9AB1C5DD63E4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b="0" i="0" u="none" strike="noStrike" kern="120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Roll out Plan</a:t>
              </a:r>
            </a:p>
          </p:txBody>
        </p:sp>
      </p:grpSp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39ABC60A-E0D2-33E5-AC2E-E375B519FF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9333158"/>
              </p:ext>
            </p:extLst>
          </p:nvPr>
        </p:nvGraphicFramePr>
        <p:xfrm>
          <a:off x="1773936" y="1544868"/>
          <a:ext cx="9709422" cy="364920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048974">
                  <a:extLst>
                    <a:ext uri="{9D8B030D-6E8A-4147-A177-3AD203B41FA5}">
                      <a16:colId xmlns:a16="http://schemas.microsoft.com/office/drawing/2014/main" val="2375374047"/>
                    </a:ext>
                  </a:extLst>
                </a:gridCol>
                <a:gridCol w="1665112">
                  <a:extLst>
                    <a:ext uri="{9D8B030D-6E8A-4147-A177-3AD203B41FA5}">
                      <a16:colId xmlns:a16="http://schemas.microsoft.com/office/drawing/2014/main" val="3931563332"/>
                    </a:ext>
                  </a:extLst>
                </a:gridCol>
                <a:gridCol w="1665112">
                  <a:extLst>
                    <a:ext uri="{9D8B030D-6E8A-4147-A177-3AD203B41FA5}">
                      <a16:colId xmlns:a16="http://schemas.microsoft.com/office/drawing/2014/main" val="605952156"/>
                    </a:ext>
                  </a:extLst>
                </a:gridCol>
                <a:gridCol w="1665112">
                  <a:extLst>
                    <a:ext uri="{9D8B030D-6E8A-4147-A177-3AD203B41FA5}">
                      <a16:colId xmlns:a16="http://schemas.microsoft.com/office/drawing/2014/main" val="43735241"/>
                    </a:ext>
                  </a:extLst>
                </a:gridCol>
                <a:gridCol w="1665112">
                  <a:extLst>
                    <a:ext uri="{9D8B030D-6E8A-4147-A177-3AD203B41FA5}">
                      <a16:colId xmlns:a16="http://schemas.microsoft.com/office/drawing/2014/main" val="643797285"/>
                    </a:ext>
                  </a:extLst>
                </a:gridCol>
              </a:tblGrid>
              <a:tr h="835937">
                <a:tc>
                  <a:txBody>
                    <a:bodyPr/>
                    <a:lstStyle/>
                    <a:p>
                      <a:pPr algn="r"/>
                      <a:r>
                        <a:rPr lang="en-AU" sz="2400">
                          <a:solidFill>
                            <a:schemeClr val="bg1"/>
                          </a:solidFill>
                        </a:rPr>
                        <a:t>Vulnerability</a:t>
                      </a:r>
                    </a:p>
                  </a:txBody>
                  <a:tcPr anchor="ctr"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2000">
                          <a:solidFill>
                            <a:schemeClr val="bg1"/>
                          </a:solidFill>
                        </a:rPr>
                        <a:t>I4.1</a:t>
                      </a:r>
                    </a:p>
                    <a:p>
                      <a:pPr algn="ctr"/>
                      <a:r>
                        <a:rPr lang="en-AU" sz="2000">
                          <a:solidFill>
                            <a:schemeClr val="bg1"/>
                          </a:solidFill>
                        </a:rPr>
                        <a:t>RDP </a:t>
                      </a:r>
                    </a:p>
                  </a:txBody>
                  <a:tcPr anchor="ctr"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2000">
                          <a:solidFill>
                            <a:schemeClr val="bg1"/>
                          </a:solidFill>
                        </a:rPr>
                        <a:t>I4.5</a:t>
                      </a:r>
                    </a:p>
                    <a:p>
                      <a:pPr algn="ctr"/>
                      <a:r>
                        <a:rPr lang="en-AU" sz="2000">
                          <a:solidFill>
                            <a:schemeClr val="bg1"/>
                          </a:solidFill>
                        </a:rPr>
                        <a:t>PowerShell 2.0</a:t>
                      </a:r>
                    </a:p>
                  </a:txBody>
                  <a:tcPr anchor="ctr"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2000">
                          <a:solidFill>
                            <a:schemeClr val="bg1"/>
                          </a:solidFill>
                        </a:rPr>
                        <a:t>A3.1</a:t>
                      </a:r>
                    </a:p>
                    <a:p>
                      <a:pPr algn="ctr"/>
                      <a:r>
                        <a:rPr lang="en-AU" sz="2000" err="1">
                          <a:solidFill>
                            <a:schemeClr val="bg1"/>
                          </a:solidFill>
                        </a:rPr>
                        <a:t>ClearText</a:t>
                      </a:r>
                      <a:r>
                        <a:rPr lang="en-AU" sz="200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AU" sz="2000" err="1">
                          <a:solidFill>
                            <a:schemeClr val="bg1"/>
                          </a:solidFill>
                        </a:rPr>
                        <a:t>Pwd</a:t>
                      </a:r>
                      <a:endParaRPr lang="en-AU" sz="20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2000">
                          <a:solidFill>
                            <a:schemeClr val="bg1"/>
                          </a:solidFill>
                        </a:rPr>
                        <a:t>I4.3</a:t>
                      </a:r>
                    </a:p>
                    <a:p>
                      <a:pPr algn="ctr"/>
                      <a:r>
                        <a:rPr lang="en-AU" sz="2000">
                          <a:solidFill>
                            <a:schemeClr val="bg1"/>
                          </a:solidFill>
                        </a:rPr>
                        <a:t>NTLM V.1</a:t>
                      </a:r>
                    </a:p>
                  </a:txBody>
                  <a:tcPr anchor="ctr">
                    <a:solidFill>
                      <a:schemeClr val="tx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5597095"/>
                  </a:ext>
                </a:extLst>
              </a:tr>
              <a:tr h="617866">
                <a:tc>
                  <a:txBody>
                    <a:bodyPr/>
                    <a:lstStyle/>
                    <a:p>
                      <a:pPr algn="r"/>
                      <a:r>
                        <a:rPr lang="en-AU" sz="1800"/>
                        <a:t>Full Backlog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AU" sz="1600" b="1"/>
                        <a:t>5798 </a:t>
                      </a:r>
                      <a:r>
                        <a:rPr lang="en-AU" sz="1050" b="1"/>
                        <a:t>(potential)</a:t>
                      </a:r>
                      <a:endParaRPr lang="en-AU" sz="1600" b="1"/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AU" sz="1600" b="1"/>
                        <a:t>  357   </a:t>
                      </a:r>
                      <a:r>
                        <a:rPr lang="en-AU" sz="1000" b="1"/>
                        <a:t>(potential)</a:t>
                      </a:r>
                    </a:p>
                    <a:p>
                      <a:pPr algn="r"/>
                      <a:r>
                        <a:rPr lang="en-AU" sz="1600" b="1"/>
                        <a:t>189  </a:t>
                      </a:r>
                      <a:r>
                        <a:rPr lang="en-AU" sz="1000" b="1"/>
                        <a:t>(confirmed)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AU" sz="1600" b="1"/>
                        <a:t>1723 </a:t>
                      </a:r>
                      <a:r>
                        <a:rPr lang="en-AU" sz="1000" b="1"/>
                        <a:t>(confirmed)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AU" sz="1600" b="1"/>
                        <a:t>2427 </a:t>
                      </a:r>
                      <a:r>
                        <a:rPr lang="en-AU" sz="1000" b="1"/>
                        <a:t>(confirmed)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3936779"/>
                  </a:ext>
                </a:extLst>
              </a:tr>
              <a:tr h="470738">
                <a:tc>
                  <a:txBody>
                    <a:bodyPr/>
                    <a:lstStyle/>
                    <a:p>
                      <a:pPr algn="r"/>
                      <a:r>
                        <a:rPr lang="en-AU" sz="1800" b="0"/>
                        <a:t>Project Pilot Candidate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600" b="1"/>
                        <a:t>60</a:t>
                      </a:r>
                    </a:p>
                  </a:txBody>
                  <a:tcPr anchor="ctr"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600" b="1"/>
                        <a:t>50</a:t>
                      </a:r>
                    </a:p>
                  </a:txBody>
                  <a:tcPr anchor="ctr"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600" b="1"/>
                        <a:t>98</a:t>
                      </a:r>
                    </a:p>
                  </a:txBody>
                  <a:tcPr anchor="ctr"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600" b="1"/>
                        <a:t>91</a:t>
                      </a:r>
                    </a:p>
                  </a:txBody>
                  <a:tcPr anchor="ctr">
                    <a:solidFill>
                      <a:srgbClr val="FFCC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0625180"/>
                  </a:ext>
                </a:extLst>
              </a:tr>
              <a:tr h="442198">
                <a:tc>
                  <a:txBody>
                    <a:bodyPr/>
                    <a:lstStyle/>
                    <a:p>
                      <a:pPr algn="r"/>
                      <a:r>
                        <a:rPr lang="en-AU" sz="1800" b="0"/>
                        <a:t>Project Pilot (to be) Confirmed target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600" b="1"/>
                        <a:t>50</a:t>
                      </a:r>
                    </a:p>
                  </a:txBody>
                  <a:tcPr anchor="ctr"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600" b="1"/>
                        <a:t>50</a:t>
                      </a:r>
                    </a:p>
                  </a:txBody>
                  <a:tcPr anchor="ctr"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600" b="1"/>
                        <a:t>50 + 20</a:t>
                      </a:r>
                    </a:p>
                  </a:txBody>
                  <a:tcPr anchor="ctr"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600" b="1"/>
                        <a:t>50 + 20</a:t>
                      </a:r>
                    </a:p>
                  </a:txBody>
                  <a:tcPr anchor="ctr">
                    <a:solidFill>
                      <a:srgbClr val="FFFF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4642968"/>
                  </a:ext>
                </a:extLst>
              </a:tr>
              <a:tr h="472486">
                <a:tc>
                  <a:txBody>
                    <a:bodyPr/>
                    <a:lstStyle/>
                    <a:p>
                      <a:pPr algn="r"/>
                      <a:r>
                        <a:rPr lang="en-AU" sz="1800" b="0"/>
                        <a:t>Change Open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800"/>
                        <a:t>-</a:t>
                      </a:r>
                    </a:p>
                  </a:txBody>
                  <a:tcPr anchor="ctr">
                    <a:solidFill>
                      <a:srgbClr val="CCFF6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800"/>
                        <a:t>-</a:t>
                      </a:r>
                    </a:p>
                  </a:txBody>
                  <a:tcPr anchor="ctr">
                    <a:solidFill>
                      <a:srgbClr val="CCFF6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2400"/>
                        <a:t>-</a:t>
                      </a:r>
                    </a:p>
                  </a:txBody>
                  <a:tcPr anchor="ctr">
                    <a:solidFill>
                      <a:srgbClr val="CCFF6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2400"/>
                        <a:t>-</a:t>
                      </a:r>
                    </a:p>
                  </a:txBody>
                  <a:tcPr anchor="ctr">
                    <a:solidFill>
                      <a:srgbClr val="CCFF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7593025"/>
                  </a:ext>
                </a:extLst>
              </a:tr>
              <a:tr h="442198">
                <a:tc>
                  <a:txBody>
                    <a:bodyPr/>
                    <a:lstStyle/>
                    <a:p>
                      <a:pPr algn="r"/>
                      <a:r>
                        <a:rPr lang="en-AU" sz="1800" b="0"/>
                        <a:t>Vulnerability Fixed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600"/>
                        <a:t>-</a:t>
                      </a:r>
                    </a:p>
                  </a:txBody>
                  <a:tcPr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600"/>
                        <a:t>-</a:t>
                      </a:r>
                    </a:p>
                  </a:txBody>
                  <a:tcPr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2000"/>
                        <a:t>-</a:t>
                      </a:r>
                    </a:p>
                  </a:txBody>
                  <a:tcPr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2000"/>
                        <a:t>-</a:t>
                      </a:r>
                    </a:p>
                  </a:txBody>
                  <a:tcPr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4542983"/>
                  </a:ext>
                </a:extLst>
              </a:tr>
            </a:tbl>
          </a:graphicData>
        </a:graphic>
      </p:graphicFrame>
      <p:sp>
        <p:nvSpPr>
          <p:cNvPr id="4" name="Arrow: Curved Right 3">
            <a:extLst>
              <a:ext uri="{FF2B5EF4-FFF2-40B4-BE49-F238E27FC236}">
                <a16:creationId xmlns:a16="http://schemas.microsoft.com/office/drawing/2014/main" id="{ABF1ADEE-FEED-D2DE-C360-BD0889AF6A1E}"/>
              </a:ext>
            </a:extLst>
          </p:cNvPr>
          <p:cNvSpPr/>
          <p:nvPr/>
        </p:nvSpPr>
        <p:spPr>
          <a:xfrm>
            <a:off x="1205713" y="3429000"/>
            <a:ext cx="501706" cy="762674"/>
          </a:xfrm>
          <a:prstGeom prst="curvedRightArrow">
            <a:avLst/>
          </a:prstGeom>
          <a:solidFill>
            <a:srgbClr val="FFCC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AU" err="1">
              <a:solidFill>
                <a:schemeClr val="tx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9AF858B-D9D4-6641-0501-B3A2B2F9E89F}"/>
              </a:ext>
            </a:extLst>
          </p:cNvPr>
          <p:cNvSpPr txBox="1"/>
          <p:nvPr/>
        </p:nvSpPr>
        <p:spPr>
          <a:xfrm>
            <a:off x="364606" y="3390425"/>
            <a:ext cx="1091960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U" sz="1100" b="0"/>
              <a:t>Weeks 4-5</a:t>
            </a:r>
          </a:p>
          <a:p>
            <a:r>
              <a:rPr lang="en-AU" sz="1100"/>
              <a:t>gather inputs to confirm servers and prepare change plan</a:t>
            </a:r>
          </a:p>
        </p:txBody>
      </p:sp>
    </p:spTree>
    <p:extLst>
      <p:ext uri="{BB962C8B-B14F-4D97-AF65-F5344CB8AC3E}">
        <p14:creationId xmlns:p14="http://schemas.microsoft.com/office/powerpoint/2010/main" val="1386769039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C64BA2-41A6-43BA-58BF-771C24DE8E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Alignment per workstream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983BA6FF-AB8E-8AEE-15B6-AE23E1AE9B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064127"/>
              </p:ext>
            </p:extLst>
          </p:nvPr>
        </p:nvGraphicFramePr>
        <p:xfrm>
          <a:off x="485408" y="1371601"/>
          <a:ext cx="7689763" cy="3200722"/>
        </p:xfrm>
        <a:graphic>
          <a:graphicData uri="http://schemas.openxmlformats.org/drawingml/2006/table">
            <a:tbl>
              <a:tblPr firstRow="1" bandRow="1">
                <a:tableStyleId>{68D230F3-CF80-4859-8CE7-A43EE81993B5}</a:tableStyleId>
              </a:tblPr>
              <a:tblGrid>
                <a:gridCol w="4967883">
                  <a:extLst>
                    <a:ext uri="{9D8B030D-6E8A-4147-A177-3AD203B41FA5}">
                      <a16:colId xmlns:a16="http://schemas.microsoft.com/office/drawing/2014/main" val="1402666260"/>
                    </a:ext>
                  </a:extLst>
                </a:gridCol>
                <a:gridCol w="2721880">
                  <a:extLst>
                    <a:ext uri="{9D8B030D-6E8A-4147-A177-3AD203B41FA5}">
                      <a16:colId xmlns:a16="http://schemas.microsoft.com/office/drawing/2014/main" val="3360074653"/>
                    </a:ext>
                  </a:extLst>
                </a:gridCol>
              </a:tblGrid>
              <a:tr h="411479">
                <a:tc>
                  <a:txBody>
                    <a:bodyPr/>
                    <a:lstStyle/>
                    <a:p>
                      <a:r>
                        <a:rPr lang="en-AU" sz="2400" dirty="0"/>
                        <a:t>Scheduled Chan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AU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6191861"/>
                  </a:ext>
                </a:extLst>
              </a:tr>
              <a:tr h="326943">
                <a:tc>
                  <a:txBody>
                    <a:bodyPr/>
                    <a:lstStyle/>
                    <a:p>
                      <a:r>
                        <a:rPr lang="en-AU" sz="1800"/>
                        <a:t>Technical Impact Assess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800" dirty="0"/>
                        <a:t>Ask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1010713"/>
                  </a:ext>
                </a:extLst>
              </a:tr>
              <a:tr h="326943">
                <a:tc>
                  <a:txBody>
                    <a:bodyPr/>
                    <a:lstStyle/>
                    <a:p>
                      <a:r>
                        <a:rPr lang="en-AU" sz="1800" dirty="0"/>
                        <a:t>Deployment windo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800" dirty="0"/>
                        <a:t>As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68926345"/>
                  </a:ext>
                </a:extLst>
              </a:tr>
              <a:tr h="326943">
                <a:tc>
                  <a:txBody>
                    <a:bodyPr/>
                    <a:lstStyle/>
                    <a:p>
                      <a:r>
                        <a:rPr lang="en-AU" sz="1800"/>
                        <a:t>Group siz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800" dirty="0"/>
                        <a:t>Define based on answe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33164147"/>
                  </a:ext>
                </a:extLst>
              </a:tr>
              <a:tr h="326943">
                <a:tc>
                  <a:txBody>
                    <a:bodyPr/>
                    <a:lstStyle/>
                    <a:p>
                      <a:r>
                        <a:rPr lang="en-AU" sz="1800"/>
                        <a:t>Deployment Support during the chan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800" dirty="0"/>
                        <a:t>As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7045"/>
                  </a:ext>
                </a:extLst>
              </a:tr>
              <a:tr h="326943">
                <a:tc>
                  <a:txBody>
                    <a:bodyPr/>
                    <a:lstStyle/>
                    <a:p>
                      <a:r>
                        <a:rPr lang="en-AU" sz="1800"/>
                        <a:t>Post Deployment Test Applicatio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800" dirty="0"/>
                        <a:t>As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56796451"/>
                  </a:ext>
                </a:extLst>
              </a:tr>
              <a:tr h="457361">
                <a:tc>
                  <a:txBody>
                    <a:bodyPr/>
                    <a:lstStyle/>
                    <a:p>
                      <a:r>
                        <a:rPr lang="en-AU" sz="1800"/>
                        <a:t>Post Change Hot L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800" dirty="0"/>
                        <a:t>Defined as per project pla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89282763"/>
                  </a:ext>
                </a:extLst>
              </a:tr>
              <a:tr h="457361">
                <a:tc>
                  <a:txBody>
                    <a:bodyPr/>
                    <a:lstStyle/>
                    <a:p>
                      <a:r>
                        <a:rPr lang="en-AU" sz="1800"/>
                        <a:t>Hypercare and Rollba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800" dirty="0"/>
                        <a:t>Defined as per project pla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13781982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F8A938E1-971A-88D1-73EA-2CF8E3438804}"/>
              </a:ext>
            </a:extLst>
          </p:cNvPr>
          <p:cNvSpPr txBox="1"/>
          <p:nvPr/>
        </p:nvSpPr>
        <p:spPr>
          <a:xfrm>
            <a:off x="1872342" y="4757056"/>
            <a:ext cx="6477001" cy="14586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indent="-285750" algn="l" defTabSz="228600">
              <a:buFont typeface="Arial" panose="020B0604020202020204" pitchFamily="34" charset="0"/>
              <a:buChar char="•"/>
            </a:pPr>
            <a:r>
              <a:rPr lang="en-AU" noProof="0" dirty="0"/>
              <a:t>Send first questionnaire for the </a:t>
            </a:r>
            <a:r>
              <a:rPr lang="en-AU" u="sng" noProof="0" dirty="0"/>
              <a:t>candidate Pilot</a:t>
            </a:r>
          </a:p>
          <a:p>
            <a:pPr marL="285750" indent="-285750" algn="l" defTabSz="228600">
              <a:buFont typeface="Arial" panose="020B0604020202020204" pitchFamily="34" charset="0"/>
              <a:buChar char="•"/>
            </a:pPr>
            <a:r>
              <a:rPr lang="en-AU" dirty="0"/>
              <a:t>Follow up (how many?)</a:t>
            </a:r>
          </a:p>
          <a:p>
            <a:pPr marL="285750" indent="-285750" algn="l" defTabSz="228600">
              <a:buFont typeface="Arial" panose="020B0604020202020204" pitchFamily="34" charset="0"/>
              <a:buChar char="•"/>
            </a:pPr>
            <a:r>
              <a:rPr lang="en-AU" dirty="0"/>
              <a:t>Workshop to clarify?</a:t>
            </a:r>
          </a:p>
          <a:p>
            <a:pPr marL="285750" indent="-285750" algn="l" defTabSz="228600">
              <a:buFont typeface="Arial" panose="020B0604020202020204" pitchFamily="34" charset="0"/>
              <a:buChar char="•"/>
            </a:pPr>
            <a:r>
              <a:rPr lang="en-AU" noProof="0" dirty="0"/>
              <a:t>Send a final message with pre-defined slot for change deployment</a:t>
            </a:r>
          </a:p>
          <a:p>
            <a:pPr marL="285750" indent="-285750" algn="l" defTabSz="228600">
              <a:buFont typeface="Arial" panose="020B0604020202020204" pitchFamily="34" charset="0"/>
              <a:buChar char="•"/>
            </a:pPr>
            <a:r>
              <a:rPr lang="en-AU" dirty="0"/>
              <a:t>Exclude the “NOs“ from the </a:t>
            </a:r>
            <a:r>
              <a:rPr lang="en-AU" u="sng" dirty="0"/>
              <a:t>confirmed Pilot </a:t>
            </a:r>
            <a:r>
              <a:rPr lang="en-AU" dirty="0"/>
              <a:t>list</a:t>
            </a:r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30605891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2302464-95E1-4D00-A4FB-B08791DF87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2302464-95E1-4D00-A4FB-B08791DF87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ADD7D3D0-A076-4CAC-8EBC-578C41431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9664"/>
            <a:ext cx="11430000" cy="990601"/>
          </a:xfrm>
        </p:spPr>
        <p:txBody>
          <a:bodyPr/>
          <a:lstStyle/>
          <a:p>
            <a:r>
              <a:rPr lang="en-US" sz="2800"/>
              <a:t>Sprint #2 Plan</a:t>
            </a:r>
            <a:endParaRPr lang="en-AU" sz="3600"/>
          </a:p>
        </p:txBody>
      </p:sp>
      <p:grpSp>
        <p:nvGrpSpPr>
          <p:cNvPr id="238" name="Group 237">
            <a:extLst>
              <a:ext uri="{FF2B5EF4-FFF2-40B4-BE49-F238E27FC236}">
                <a16:creationId xmlns:a16="http://schemas.microsoft.com/office/drawing/2014/main" id="{C3A95B6D-E9FA-4D40-B76F-20DFAA8FC6D9}"/>
              </a:ext>
            </a:extLst>
          </p:cNvPr>
          <p:cNvGrpSpPr/>
          <p:nvPr/>
        </p:nvGrpSpPr>
        <p:grpSpPr>
          <a:xfrm>
            <a:off x="2726638" y="-11433785"/>
            <a:ext cx="2010399" cy="24596"/>
            <a:chOff x="399776" y="2775464"/>
            <a:chExt cx="1343026" cy="24596"/>
          </a:xfrm>
        </p:grpSpPr>
        <p:cxnSp>
          <p:nvCxnSpPr>
            <p:cNvPr id="239" name="Straight Connector 238">
              <a:extLst>
                <a:ext uri="{FF2B5EF4-FFF2-40B4-BE49-F238E27FC236}">
                  <a16:creationId xmlns:a16="http://schemas.microsoft.com/office/drawing/2014/main" id="{E0E009CD-DF09-440D-8728-75838E4AB5EA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ln w="1270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9F31A69C-59F8-4D5D-B5A9-495532564F30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b="0" i="0" u="none" strike="noStrike" kern="120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Build remediation artefacts</a:t>
              </a: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E7208112-0021-4509-A748-047E6F786998}"/>
              </a:ext>
            </a:extLst>
          </p:cNvPr>
          <p:cNvGrpSpPr/>
          <p:nvPr/>
        </p:nvGrpSpPr>
        <p:grpSpPr>
          <a:xfrm>
            <a:off x="2713824" y="-10481886"/>
            <a:ext cx="2010399" cy="24596"/>
            <a:chOff x="399776" y="2775464"/>
            <a:chExt cx="1343026" cy="24596"/>
          </a:xfrm>
        </p:grpSpPr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EFD3E219-B158-4F0B-8611-AC5D9DD02B2E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ln w="1270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E4B6AE65-AE5C-438A-A8AD-9AB1C5DD63E4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b="0" i="0" u="none" strike="noStrike" kern="120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Roll out Plan</a:t>
              </a: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FED69137-CF4C-7D84-985A-256E364DE7B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634" t="15527" r="14485"/>
          <a:stretch/>
        </p:blipFill>
        <p:spPr>
          <a:xfrm>
            <a:off x="6631619" y="259578"/>
            <a:ext cx="4651899" cy="6338844"/>
          </a:xfrm>
          <a:prstGeom prst="rect">
            <a:avLst/>
          </a:prstGeom>
        </p:spPr>
      </p:pic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2D4FD5EF-B074-C665-26F1-FA1D50575028}"/>
              </a:ext>
            </a:extLst>
          </p:cNvPr>
          <p:cNvSpPr/>
          <p:nvPr/>
        </p:nvSpPr>
        <p:spPr>
          <a:xfrm>
            <a:off x="1018792" y="4975471"/>
            <a:ext cx="4002616" cy="180523"/>
          </a:xfrm>
          <a:prstGeom prst="roundRect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</a:rPr>
              <a:t>“Deploy by </a:t>
            </a:r>
            <a:r>
              <a:rPr lang="en-AU" sz="1200" err="1">
                <a:solidFill>
                  <a:schemeClr val="tx1"/>
                </a:solidFill>
              </a:rPr>
              <a:t>Default”with</a:t>
            </a:r>
            <a:r>
              <a:rPr lang="en-AU" sz="1200">
                <a:solidFill>
                  <a:schemeClr val="tx1"/>
                </a:solidFill>
              </a:rPr>
              <a:t>  pre-selected options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1AD0756C-B1A1-661F-1C63-70AD915071D4}"/>
              </a:ext>
            </a:extLst>
          </p:cNvPr>
          <p:cNvSpPr/>
          <p:nvPr/>
        </p:nvSpPr>
        <p:spPr>
          <a:xfrm>
            <a:off x="857938" y="4995298"/>
            <a:ext cx="221942" cy="213064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AU"/>
              <a:t>4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BB47AC53-55BD-890D-0DCA-08C15C04BBC3}"/>
              </a:ext>
            </a:extLst>
          </p:cNvPr>
          <p:cNvSpPr/>
          <p:nvPr/>
        </p:nvSpPr>
        <p:spPr>
          <a:xfrm>
            <a:off x="1002061" y="5306603"/>
            <a:ext cx="4002615" cy="213064"/>
          </a:xfrm>
          <a:prstGeom prst="roundRect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</a:rPr>
              <a:t>Withdrawn incompatible servers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5AB9CCC4-C1D2-934B-8A08-6321109E6A4C}"/>
              </a:ext>
            </a:extLst>
          </p:cNvPr>
          <p:cNvSpPr/>
          <p:nvPr/>
        </p:nvSpPr>
        <p:spPr>
          <a:xfrm>
            <a:off x="866647" y="5368411"/>
            <a:ext cx="221942" cy="213064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AU"/>
              <a:t>5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7DF9DE5-0477-2C69-1EEC-058CEBAE67AA}"/>
              </a:ext>
            </a:extLst>
          </p:cNvPr>
          <p:cNvSpPr txBox="1"/>
          <p:nvPr/>
        </p:nvSpPr>
        <p:spPr>
          <a:xfrm>
            <a:off x="699299" y="1075699"/>
            <a:ext cx="5932319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U" sz="1400"/>
              <a:t>1.RT to approve </a:t>
            </a:r>
            <a:r>
              <a:rPr lang="en-AU" sz="1400" u="sng"/>
              <a:t>Pilot candidate </a:t>
            </a:r>
            <a:r>
              <a:rPr lang="en-AU" sz="1400"/>
              <a:t>list by COB 17/08/2022</a:t>
            </a:r>
          </a:p>
          <a:p>
            <a:r>
              <a:rPr lang="en-AU" sz="1400"/>
              <a:t>2.Prepare technical deployment plan </a:t>
            </a:r>
          </a:p>
          <a:p>
            <a:r>
              <a:rPr lang="en-AU" sz="1400"/>
              <a:t>3.Build/test vulnerability fix</a:t>
            </a:r>
          </a:p>
          <a:p>
            <a:r>
              <a:rPr lang="en-AU" sz="1400">
                <a:highlight>
                  <a:srgbClr val="FFCC66"/>
                </a:highlight>
              </a:rPr>
              <a:t>4.Gather change planning inputs from Server/Application owners and confirm Pilot list</a:t>
            </a:r>
          </a:p>
          <a:p>
            <a:r>
              <a:rPr lang="en-AU" sz="1400"/>
              <a:t>5.Prepare changes for Pilot confirmed servers</a:t>
            </a:r>
          </a:p>
          <a:p>
            <a:r>
              <a:rPr lang="en-AU" sz="1400"/>
              <a:t>6.Finalise on deployment methods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74D10F9-190F-DC6D-5D52-A160EEE42FA7}"/>
              </a:ext>
            </a:extLst>
          </p:cNvPr>
          <p:cNvSpPr txBox="1"/>
          <p:nvPr/>
        </p:nvSpPr>
        <p:spPr>
          <a:xfrm>
            <a:off x="474579" y="5149887"/>
            <a:ext cx="47693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U" sz="1200">
                <a:solidFill>
                  <a:schemeClr val="tx1"/>
                </a:solidFill>
              </a:rPr>
              <a:t>OR</a:t>
            </a:r>
            <a:endParaRPr lang="en-AU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AAA820B0-6E8E-01C9-3CAF-F70C421A4FBA}"/>
              </a:ext>
            </a:extLst>
          </p:cNvPr>
          <p:cNvSpPr/>
          <p:nvPr/>
        </p:nvSpPr>
        <p:spPr>
          <a:xfrm>
            <a:off x="1007555" y="4607137"/>
            <a:ext cx="4002616" cy="180523"/>
          </a:xfrm>
          <a:prstGeom prst="roundRect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</a:rPr>
              <a:t>Follow up with </a:t>
            </a:r>
            <a:r>
              <a:rPr lang="en-AU" sz="1200" b="1">
                <a:solidFill>
                  <a:schemeClr val="tx1"/>
                </a:solidFill>
              </a:rPr>
              <a:t>server owners </a:t>
            </a:r>
            <a:r>
              <a:rPr lang="en-AU" sz="1200">
                <a:solidFill>
                  <a:schemeClr val="tx1"/>
                </a:solidFill>
              </a:rPr>
              <a:t>and app owners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5BAB9A94-6504-2064-DEF0-1BBDE945BFBF}"/>
              </a:ext>
            </a:extLst>
          </p:cNvPr>
          <p:cNvSpPr/>
          <p:nvPr/>
        </p:nvSpPr>
        <p:spPr>
          <a:xfrm>
            <a:off x="866647" y="4599005"/>
            <a:ext cx="221942" cy="213064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AU"/>
              <a:t>3</a:t>
            </a: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D6561D3A-94F9-8B3F-CAC3-19A318FF1B41}"/>
              </a:ext>
            </a:extLst>
          </p:cNvPr>
          <p:cNvSpPr/>
          <p:nvPr/>
        </p:nvSpPr>
        <p:spPr>
          <a:xfrm>
            <a:off x="998815" y="4279737"/>
            <a:ext cx="4002616" cy="180523"/>
          </a:xfrm>
          <a:prstGeom prst="roundRect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</a:rPr>
              <a:t>Workshops to address questions and specific requirements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A7403526-354B-8570-80DF-1662FE48B984}"/>
              </a:ext>
            </a:extLst>
          </p:cNvPr>
          <p:cNvSpPr/>
          <p:nvPr/>
        </p:nvSpPr>
        <p:spPr>
          <a:xfrm>
            <a:off x="883042" y="4230289"/>
            <a:ext cx="221942" cy="213064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AU"/>
              <a:t>2</a:t>
            </a: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1416E8DC-92FF-C302-BA55-08337B8AECAA}"/>
              </a:ext>
            </a:extLst>
          </p:cNvPr>
          <p:cNvSpPr/>
          <p:nvPr/>
        </p:nvSpPr>
        <p:spPr>
          <a:xfrm>
            <a:off x="1018792" y="3908677"/>
            <a:ext cx="4002616" cy="180523"/>
          </a:xfrm>
          <a:prstGeom prst="roundRect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</a:rPr>
              <a:t>Informative Comms and Questionnaire Released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2DF2B6B0-3C5C-916C-DF7D-09D7E78B190D}"/>
              </a:ext>
            </a:extLst>
          </p:cNvPr>
          <p:cNvSpPr/>
          <p:nvPr/>
        </p:nvSpPr>
        <p:spPr>
          <a:xfrm>
            <a:off x="883042" y="3839405"/>
            <a:ext cx="221942" cy="213064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AU"/>
              <a:t>1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EA64A01F-BA09-FBFD-0612-86D4D1889051}"/>
              </a:ext>
            </a:extLst>
          </p:cNvPr>
          <p:cNvSpPr txBox="1"/>
          <p:nvPr/>
        </p:nvSpPr>
        <p:spPr>
          <a:xfrm>
            <a:off x="551683" y="3209072"/>
            <a:ext cx="593231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U" sz="1400"/>
              <a:t>Zoom In – Activity 4: Gather change planning inputs from Server/Application owners and confirm Pilot list</a:t>
            </a:r>
          </a:p>
        </p:txBody>
      </p:sp>
    </p:spTree>
    <p:extLst>
      <p:ext uri="{BB962C8B-B14F-4D97-AF65-F5344CB8AC3E}">
        <p14:creationId xmlns:p14="http://schemas.microsoft.com/office/powerpoint/2010/main" val="2308514240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2302464-95E1-4D00-A4FB-B08791DF87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2302464-95E1-4D00-A4FB-B08791DF87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ADD7D3D0-A076-4CAC-8EBC-578C41431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9664"/>
            <a:ext cx="11430000" cy="990601"/>
          </a:xfrm>
        </p:spPr>
        <p:txBody>
          <a:bodyPr/>
          <a:lstStyle/>
          <a:p>
            <a:r>
              <a:rPr lang="en-US" sz="2800"/>
              <a:t>Remediation approach</a:t>
            </a:r>
            <a:endParaRPr lang="en-AU" sz="3600"/>
          </a:p>
        </p:txBody>
      </p:sp>
      <p:grpSp>
        <p:nvGrpSpPr>
          <p:cNvPr id="238" name="Group 237">
            <a:extLst>
              <a:ext uri="{FF2B5EF4-FFF2-40B4-BE49-F238E27FC236}">
                <a16:creationId xmlns:a16="http://schemas.microsoft.com/office/drawing/2014/main" id="{C3A95B6D-E9FA-4D40-B76F-20DFAA8FC6D9}"/>
              </a:ext>
            </a:extLst>
          </p:cNvPr>
          <p:cNvGrpSpPr/>
          <p:nvPr/>
        </p:nvGrpSpPr>
        <p:grpSpPr>
          <a:xfrm>
            <a:off x="2726638" y="-11433785"/>
            <a:ext cx="2010399" cy="24596"/>
            <a:chOff x="399776" y="2775464"/>
            <a:chExt cx="1343026" cy="24596"/>
          </a:xfrm>
        </p:grpSpPr>
        <p:cxnSp>
          <p:nvCxnSpPr>
            <p:cNvPr id="239" name="Straight Connector 238">
              <a:extLst>
                <a:ext uri="{FF2B5EF4-FFF2-40B4-BE49-F238E27FC236}">
                  <a16:creationId xmlns:a16="http://schemas.microsoft.com/office/drawing/2014/main" id="{E0E009CD-DF09-440D-8728-75838E4AB5EA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ln w="1270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9F31A69C-59F8-4D5D-B5A9-495532564F30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b="0" i="0" u="none" strike="noStrike" kern="120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Build remediation artefacts</a:t>
              </a: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E7208112-0021-4509-A748-047E6F786998}"/>
              </a:ext>
            </a:extLst>
          </p:cNvPr>
          <p:cNvGrpSpPr/>
          <p:nvPr/>
        </p:nvGrpSpPr>
        <p:grpSpPr>
          <a:xfrm>
            <a:off x="2713824" y="-10481886"/>
            <a:ext cx="2010399" cy="24596"/>
            <a:chOff x="399776" y="2775464"/>
            <a:chExt cx="1343026" cy="24596"/>
          </a:xfrm>
        </p:grpSpPr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EFD3E219-B158-4F0B-8611-AC5D9DD02B2E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ln w="1270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E4B6AE65-AE5C-438A-A8AD-9AB1C5DD63E4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b="0" i="0" u="none" strike="noStrike" kern="120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Roll out Plan</a:t>
              </a:r>
            </a:p>
          </p:txBody>
        </p:sp>
      </p:grpSp>
      <p:graphicFrame>
        <p:nvGraphicFramePr>
          <p:cNvPr id="28" name="Table 5">
            <a:extLst>
              <a:ext uri="{FF2B5EF4-FFF2-40B4-BE49-F238E27FC236}">
                <a16:creationId xmlns:a16="http://schemas.microsoft.com/office/drawing/2014/main" id="{9F5F7011-A563-9DAF-23F2-226FD15E8F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0719800"/>
              </p:ext>
            </p:extLst>
          </p:nvPr>
        </p:nvGraphicFramePr>
        <p:xfrm>
          <a:off x="470518" y="864965"/>
          <a:ext cx="10608814" cy="5175546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653008">
                  <a:extLst>
                    <a:ext uri="{9D8B030D-6E8A-4147-A177-3AD203B41FA5}">
                      <a16:colId xmlns:a16="http://schemas.microsoft.com/office/drawing/2014/main" val="1264441803"/>
                    </a:ext>
                  </a:extLst>
                </a:gridCol>
                <a:gridCol w="2672840">
                  <a:extLst>
                    <a:ext uri="{9D8B030D-6E8A-4147-A177-3AD203B41FA5}">
                      <a16:colId xmlns:a16="http://schemas.microsoft.com/office/drawing/2014/main" val="3867941539"/>
                    </a:ext>
                  </a:extLst>
                </a:gridCol>
                <a:gridCol w="2898183">
                  <a:extLst>
                    <a:ext uri="{9D8B030D-6E8A-4147-A177-3AD203B41FA5}">
                      <a16:colId xmlns:a16="http://schemas.microsoft.com/office/drawing/2014/main" val="1758129201"/>
                    </a:ext>
                  </a:extLst>
                </a:gridCol>
                <a:gridCol w="2384783">
                  <a:extLst>
                    <a:ext uri="{9D8B030D-6E8A-4147-A177-3AD203B41FA5}">
                      <a16:colId xmlns:a16="http://schemas.microsoft.com/office/drawing/2014/main" val="1316714249"/>
                    </a:ext>
                  </a:extLst>
                </a:gridCol>
              </a:tblGrid>
              <a:tr h="370496">
                <a:tc>
                  <a:txBody>
                    <a:bodyPr/>
                    <a:lstStyle/>
                    <a:p>
                      <a:r>
                        <a:rPr lang="en-AU" sz="1600"/>
                        <a:t>Approa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600"/>
                        <a:t>Self-Serv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600"/>
                        <a:t>Bat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600"/>
                        <a:t>Interactiv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5292100"/>
                  </a:ext>
                </a:extLst>
              </a:tr>
              <a:tr h="288246">
                <a:tc>
                  <a:txBody>
                    <a:bodyPr/>
                    <a:lstStyle/>
                    <a:p>
                      <a:r>
                        <a:rPr lang="en-AU" sz="1400"/>
                        <a:t>Scheduled Chan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Y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116374"/>
                  </a:ext>
                </a:extLst>
              </a:tr>
              <a:tr h="490018">
                <a:tc>
                  <a:txBody>
                    <a:bodyPr/>
                    <a:lstStyle/>
                    <a:p>
                      <a:r>
                        <a:rPr lang="en-AU" sz="1400">
                          <a:highlight>
                            <a:srgbClr val="FFFF00"/>
                          </a:highlight>
                        </a:rPr>
                        <a:t>Technical Impact Assess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>
                          <a:highlight>
                            <a:srgbClr val="FFFF00"/>
                          </a:highlight>
                        </a:rPr>
                        <a:t>Completed by application own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>
                          <a:highlight>
                            <a:srgbClr val="FFFF00"/>
                          </a:highlight>
                        </a:rPr>
                        <a:t>Completed by application own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>
                          <a:highlight>
                            <a:srgbClr val="FFFF00"/>
                          </a:highlight>
                        </a:rPr>
                        <a:t>Y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4470544"/>
                  </a:ext>
                </a:extLst>
              </a:tr>
              <a:tr h="490018">
                <a:tc>
                  <a:txBody>
                    <a:bodyPr/>
                    <a:lstStyle/>
                    <a:p>
                      <a:r>
                        <a:rPr lang="en-AU" sz="1400"/>
                        <a:t>Recommended Criticality Lev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Level 5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/>
                        <a:t>Level 4-5</a:t>
                      </a:r>
                    </a:p>
                    <a:p>
                      <a:endParaRPr lang="en-AU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/>
                        <a:t>Level 1-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1657300"/>
                  </a:ext>
                </a:extLst>
              </a:tr>
              <a:tr h="1095335">
                <a:tc>
                  <a:txBody>
                    <a:bodyPr/>
                    <a:lstStyle/>
                    <a:p>
                      <a:r>
                        <a:rPr lang="en-AU" sz="1400"/>
                        <a:t>Deployment window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Flexi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/>
                        <a:t>App Owners to specify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/>
                        <a:t>A – Weekday/evening (7PM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/>
                        <a:t>B – Weekday/business hours (4PM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/>
                        <a:t>C – Weekend/Saturday AM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/>
                        <a:t>D – Weekend/Sunday AM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/>
                        <a:t>* Region || time z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AU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0702754"/>
                  </a:ext>
                </a:extLst>
              </a:tr>
              <a:tr h="312118">
                <a:tc>
                  <a:txBody>
                    <a:bodyPr/>
                    <a:lstStyle/>
                    <a:p>
                      <a:r>
                        <a:rPr lang="en-AU" sz="1400"/>
                        <a:t>Group siz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1-3 (workload basis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7173720"/>
                  </a:ext>
                </a:extLst>
              </a:tr>
              <a:tr h="490018">
                <a:tc>
                  <a:txBody>
                    <a:bodyPr/>
                    <a:lstStyle/>
                    <a:p>
                      <a:r>
                        <a:rPr lang="en-AU" sz="1400"/>
                        <a:t>Deployment Support during the chan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Deployment window not managed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/>
                        <a:t>Recommend Server Own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Server Own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58401871"/>
                  </a:ext>
                </a:extLst>
              </a:tr>
              <a:tr h="327465">
                <a:tc>
                  <a:txBody>
                    <a:bodyPr/>
                    <a:lstStyle/>
                    <a:p>
                      <a:r>
                        <a:rPr lang="en-AU" sz="1400"/>
                        <a:t>Post Deployment Test Applicatio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/>
                        <a:t>Recommended </a:t>
                      </a:r>
                      <a:r>
                        <a:rPr lang="en-AU" sz="1400">
                          <a:highlight>
                            <a:srgbClr val="00FF00"/>
                          </a:highlight>
                        </a:rPr>
                        <a:t>(Optiona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Requir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34751135"/>
                  </a:ext>
                </a:extLst>
              </a:tr>
              <a:tr h="490018">
                <a:tc>
                  <a:txBody>
                    <a:bodyPr/>
                    <a:lstStyle/>
                    <a:p>
                      <a:r>
                        <a:rPr lang="en-AU" sz="1400"/>
                        <a:t>Post Change Hot L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/>
                        <a:t>Service Desk receive a list of servers per group/chan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/>
                        <a:t>Service Desk receive a list of servers per group/chang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9187730"/>
                  </a:ext>
                </a:extLst>
              </a:tr>
              <a:tr h="444569">
                <a:tc>
                  <a:txBody>
                    <a:bodyPr/>
                    <a:lstStyle/>
                    <a:p>
                      <a:r>
                        <a:rPr lang="en-AU" sz="1400"/>
                        <a:t>Hypercare and Rollba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/>
                        <a:t>Requir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/>
                        <a:t>Requir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34937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48083553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2302464-95E1-4D00-A4FB-B08791DF87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2302464-95E1-4D00-A4FB-B08791DF87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ADD7D3D0-A076-4CAC-8EBC-578C41431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9664"/>
            <a:ext cx="11430000" cy="990601"/>
          </a:xfrm>
        </p:spPr>
        <p:txBody>
          <a:bodyPr/>
          <a:lstStyle/>
          <a:p>
            <a:r>
              <a:rPr lang="en-US" sz="2800"/>
              <a:t>Tracker (sample data)</a:t>
            </a:r>
            <a:endParaRPr lang="en-AU" sz="3600"/>
          </a:p>
        </p:txBody>
      </p:sp>
      <p:grpSp>
        <p:nvGrpSpPr>
          <p:cNvPr id="238" name="Group 237">
            <a:extLst>
              <a:ext uri="{FF2B5EF4-FFF2-40B4-BE49-F238E27FC236}">
                <a16:creationId xmlns:a16="http://schemas.microsoft.com/office/drawing/2014/main" id="{C3A95B6D-E9FA-4D40-B76F-20DFAA8FC6D9}"/>
              </a:ext>
            </a:extLst>
          </p:cNvPr>
          <p:cNvGrpSpPr/>
          <p:nvPr/>
        </p:nvGrpSpPr>
        <p:grpSpPr>
          <a:xfrm>
            <a:off x="2726638" y="-11433785"/>
            <a:ext cx="2010399" cy="24596"/>
            <a:chOff x="399776" y="2775464"/>
            <a:chExt cx="1343026" cy="24596"/>
          </a:xfrm>
        </p:grpSpPr>
        <p:cxnSp>
          <p:nvCxnSpPr>
            <p:cNvPr id="239" name="Straight Connector 238">
              <a:extLst>
                <a:ext uri="{FF2B5EF4-FFF2-40B4-BE49-F238E27FC236}">
                  <a16:creationId xmlns:a16="http://schemas.microsoft.com/office/drawing/2014/main" id="{E0E009CD-DF09-440D-8728-75838E4AB5EA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ln w="1270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9F31A69C-59F8-4D5D-B5A9-495532564F30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b="0" i="0" u="none" strike="noStrike" kern="120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Build remediation artefacts</a:t>
              </a: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E7208112-0021-4509-A748-047E6F786998}"/>
              </a:ext>
            </a:extLst>
          </p:cNvPr>
          <p:cNvGrpSpPr/>
          <p:nvPr/>
        </p:nvGrpSpPr>
        <p:grpSpPr>
          <a:xfrm>
            <a:off x="2713824" y="-10481886"/>
            <a:ext cx="2010399" cy="24596"/>
            <a:chOff x="399776" y="2775464"/>
            <a:chExt cx="1343026" cy="24596"/>
          </a:xfrm>
        </p:grpSpPr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EFD3E219-B158-4F0B-8611-AC5D9DD02B2E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ln w="1270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E4B6AE65-AE5C-438A-A8AD-9AB1C5DD63E4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b="0" i="0" u="none" strike="noStrike" kern="120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Roll out Plan</a:t>
              </a:r>
            </a:p>
          </p:txBody>
        </p:sp>
      </p:grpSp>
      <p:graphicFrame>
        <p:nvGraphicFramePr>
          <p:cNvPr id="28" name="Table 5">
            <a:extLst>
              <a:ext uri="{FF2B5EF4-FFF2-40B4-BE49-F238E27FC236}">
                <a16:creationId xmlns:a16="http://schemas.microsoft.com/office/drawing/2014/main" id="{9F5F7011-A563-9DAF-23F2-226FD15E8FC9}"/>
              </a:ext>
            </a:extLst>
          </p:cNvPr>
          <p:cNvGraphicFramePr>
            <a:graphicFrameLocks noGrp="1"/>
          </p:cNvGraphicFramePr>
          <p:nvPr/>
        </p:nvGraphicFramePr>
        <p:xfrm>
          <a:off x="1157176" y="1376314"/>
          <a:ext cx="8087489" cy="283496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124630">
                  <a:extLst>
                    <a:ext uri="{9D8B030D-6E8A-4147-A177-3AD203B41FA5}">
                      <a16:colId xmlns:a16="http://schemas.microsoft.com/office/drawing/2014/main" val="1264441803"/>
                    </a:ext>
                  </a:extLst>
                </a:gridCol>
                <a:gridCol w="1652631">
                  <a:extLst>
                    <a:ext uri="{9D8B030D-6E8A-4147-A177-3AD203B41FA5}">
                      <a16:colId xmlns:a16="http://schemas.microsoft.com/office/drawing/2014/main" val="189620947"/>
                    </a:ext>
                  </a:extLst>
                </a:gridCol>
                <a:gridCol w="1711354">
                  <a:extLst>
                    <a:ext uri="{9D8B030D-6E8A-4147-A177-3AD203B41FA5}">
                      <a16:colId xmlns:a16="http://schemas.microsoft.com/office/drawing/2014/main" val="3951712096"/>
                    </a:ext>
                  </a:extLst>
                </a:gridCol>
                <a:gridCol w="2265027">
                  <a:extLst>
                    <a:ext uri="{9D8B030D-6E8A-4147-A177-3AD203B41FA5}">
                      <a16:colId xmlns:a16="http://schemas.microsoft.com/office/drawing/2014/main" val="3867941539"/>
                    </a:ext>
                  </a:extLst>
                </a:gridCol>
                <a:gridCol w="1333847">
                  <a:extLst>
                    <a:ext uri="{9D8B030D-6E8A-4147-A177-3AD203B41FA5}">
                      <a16:colId xmlns:a16="http://schemas.microsoft.com/office/drawing/2014/main" val="420778884"/>
                    </a:ext>
                  </a:extLst>
                </a:gridCol>
              </a:tblGrid>
              <a:tr h="661820">
                <a:tc>
                  <a:txBody>
                    <a:bodyPr/>
                    <a:lstStyle/>
                    <a:p>
                      <a:r>
                        <a:rPr lang="en-AU" sz="2000"/>
                        <a:t>Change#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2000"/>
                        <a:t>Ope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2000"/>
                        <a:t>Approv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2000"/>
                        <a:t>Stat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2000"/>
                        <a:t>Serve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5292100"/>
                  </a:ext>
                </a:extLst>
              </a:tr>
              <a:tr h="561692">
                <a:tc>
                  <a:txBody>
                    <a:bodyPr/>
                    <a:lstStyle/>
                    <a:p>
                      <a:r>
                        <a:rPr lang="en-AU"/>
                        <a:t>CRXXXX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/>
                        <a:t>4-Aug-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/>
                        <a:t>Vulnerability Fix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116374"/>
                  </a:ext>
                </a:extLst>
              </a:tr>
              <a:tr h="503589">
                <a:tc>
                  <a:txBody>
                    <a:bodyPr/>
                    <a:lstStyle/>
                    <a:p>
                      <a:r>
                        <a:rPr lang="en-AU"/>
                        <a:t>Xxxx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/>
                        <a:t>Vulnerability Fix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4470544"/>
                  </a:ext>
                </a:extLst>
              </a:tr>
              <a:tr h="503589">
                <a:tc>
                  <a:txBody>
                    <a:bodyPr/>
                    <a:lstStyle/>
                    <a:p>
                      <a:r>
                        <a:rPr lang="en-AU"/>
                        <a:t>Xxxx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/>
                        <a:t>Schedul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/>
                        <a:t>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1657300"/>
                  </a:ext>
                </a:extLst>
              </a:tr>
              <a:tr h="604270">
                <a:tc>
                  <a:txBody>
                    <a:bodyPr/>
                    <a:lstStyle/>
                    <a:p>
                      <a:r>
                        <a:rPr lang="en-AU"/>
                        <a:t>Xxxx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/>
                        <a:t>Waiting for Approv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0702754"/>
                  </a:ext>
                </a:extLst>
              </a:tr>
            </a:tbl>
          </a:graphicData>
        </a:graphic>
      </p:graphicFrame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062258C8-6C3A-53EB-9186-4F2441367F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8441966"/>
              </p:ext>
            </p:extLst>
          </p:nvPr>
        </p:nvGraphicFramePr>
        <p:xfrm>
          <a:off x="3866267" y="4395060"/>
          <a:ext cx="3459549" cy="182880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401490">
                  <a:extLst>
                    <a:ext uri="{9D8B030D-6E8A-4147-A177-3AD203B41FA5}">
                      <a16:colId xmlns:a16="http://schemas.microsoft.com/office/drawing/2014/main" val="860285425"/>
                    </a:ext>
                  </a:extLst>
                </a:gridCol>
                <a:gridCol w="1058059">
                  <a:extLst>
                    <a:ext uri="{9D8B030D-6E8A-4147-A177-3AD203B41FA5}">
                      <a16:colId xmlns:a16="http://schemas.microsoft.com/office/drawing/2014/main" val="3437243603"/>
                    </a:ext>
                  </a:extLst>
                </a:gridCol>
              </a:tblGrid>
              <a:tr h="334894">
                <a:tc>
                  <a:txBody>
                    <a:bodyPr/>
                    <a:lstStyle/>
                    <a:p>
                      <a:pPr algn="r"/>
                      <a:r>
                        <a:rPr lang="en-AU" b="1"/>
                        <a:t>Full Backlog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b="1"/>
                        <a:t>12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1742061"/>
                  </a:ext>
                </a:extLst>
              </a:tr>
              <a:tr h="334894">
                <a:tc>
                  <a:txBody>
                    <a:bodyPr/>
                    <a:lstStyle/>
                    <a:p>
                      <a:pPr algn="r"/>
                      <a:r>
                        <a:rPr lang="en-AU" b="1"/>
                        <a:t>Pilot Candidat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b="1"/>
                        <a:t>4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76303"/>
                  </a:ext>
                </a:extLst>
              </a:tr>
              <a:tr h="334894">
                <a:tc>
                  <a:txBody>
                    <a:bodyPr/>
                    <a:lstStyle/>
                    <a:p>
                      <a:pPr algn="r"/>
                      <a:r>
                        <a:rPr lang="en-AU" b="1"/>
                        <a:t>Pilot Confirme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U" b="1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0449895"/>
                  </a:ext>
                </a:extLst>
              </a:tr>
              <a:tr h="334894">
                <a:tc>
                  <a:txBody>
                    <a:bodyPr/>
                    <a:lstStyle/>
                    <a:p>
                      <a:pPr algn="r"/>
                      <a:r>
                        <a:rPr lang="en-AU" b="1"/>
                        <a:t>Change Ope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b="1"/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9985513"/>
                  </a:ext>
                </a:extLst>
              </a:tr>
              <a:tr h="334894">
                <a:tc>
                  <a:txBody>
                    <a:bodyPr/>
                    <a:lstStyle/>
                    <a:p>
                      <a:pPr algn="r"/>
                      <a:r>
                        <a:rPr lang="en-AU" b="1"/>
                        <a:t>Vulnerability Fixe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b="1"/>
                        <a:t>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4766354"/>
                  </a:ext>
                </a:extLst>
              </a:tr>
            </a:tbl>
          </a:graphicData>
        </a:graphic>
      </p:graphicFrame>
      <p:sp>
        <p:nvSpPr>
          <p:cNvPr id="3" name="Oval 2">
            <a:extLst>
              <a:ext uri="{FF2B5EF4-FFF2-40B4-BE49-F238E27FC236}">
                <a16:creationId xmlns:a16="http://schemas.microsoft.com/office/drawing/2014/main" id="{9F476349-2639-9019-FBFE-72B249EA5DE6}"/>
              </a:ext>
            </a:extLst>
          </p:cNvPr>
          <p:cNvSpPr/>
          <p:nvPr/>
        </p:nvSpPr>
        <p:spPr>
          <a:xfrm>
            <a:off x="8310880" y="369664"/>
            <a:ext cx="3383280" cy="113401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AU"/>
              <a:t>example</a:t>
            </a:r>
          </a:p>
        </p:txBody>
      </p:sp>
    </p:spTree>
    <p:extLst>
      <p:ext uri="{BB962C8B-B14F-4D97-AF65-F5344CB8AC3E}">
        <p14:creationId xmlns:p14="http://schemas.microsoft.com/office/powerpoint/2010/main" val="392046689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frizKYGKcpgVVI28ved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Unrestricted">
  <a:themeElements>
    <a:clrScheme name="Avanade FY17">
      <a:dk1>
        <a:srgbClr val="595959"/>
      </a:dk1>
      <a:lt1>
        <a:sysClr val="window" lastClr="FFFFFF"/>
      </a:lt1>
      <a:dk2>
        <a:srgbClr val="FF5800"/>
      </a:dk2>
      <a:lt2>
        <a:srgbClr val="E7E6E6"/>
      </a:lt2>
      <a:accent1>
        <a:srgbClr val="FF5800"/>
      </a:accent1>
      <a:accent2>
        <a:srgbClr val="CE056A"/>
      </a:accent2>
      <a:accent3>
        <a:srgbClr val="C80000"/>
      </a:accent3>
      <a:accent4>
        <a:srgbClr val="FFB414"/>
      </a:accent4>
      <a:accent5>
        <a:srgbClr val="47800A"/>
      </a:accent5>
      <a:accent6>
        <a:srgbClr val="008376"/>
      </a:accent6>
      <a:hlink>
        <a:srgbClr val="FF5800"/>
      </a:hlink>
      <a:folHlink>
        <a:srgbClr val="890078"/>
      </a:folHlink>
    </a:clrScheme>
    <a:fontScheme name="Custom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hoto Cover PPT Template_2019" id="{F40E4053-D93C-8B4C-ABB0-355E77D9BF60}" vid="{7BE3C35A-BAB7-344E-84DB-4161C59859C6}"/>
    </a:ext>
  </a:extLst>
</a:theme>
</file>

<file path=ppt/theme/theme2.xml><?xml version="1.0" encoding="utf-8"?>
<a:theme xmlns:a="http://schemas.openxmlformats.org/drawingml/2006/main" name="1_Office Theme">
  <a:themeElements>
    <a:clrScheme name="CBA+Accenture purple">
      <a:dk1>
        <a:srgbClr val="000000"/>
      </a:dk1>
      <a:lt1>
        <a:srgbClr val="FFFFFF"/>
      </a:lt1>
      <a:dk2>
        <a:srgbClr val="595959"/>
      </a:dk2>
      <a:lt2>
        <a:srgbClr val="BEBEBE"/>
      </a:lt2>
      <a:accent1>
        <a:srgbClr val="FF9500"/>
      </a:accent1>
      <a:accent2>
        <a:srgbClr val="FFC100"/>
      </a:accent2>
      <a:accent3>
        <a:srgbClr val="FFD93A"/>
      </a:accent3>
      <a:accent4>
        <a:srgbClr val="A100FF"/>
      </a:accent4>
      <a:accent5>
        <a:srgbClr val="7500C0"/>
      </a:accent5>
      <a:accent6>
        <a:srgbClr val="460073"/>
      </a:accent6>
      <a:hlink>
        <a:srgbClr val="FFB600"/>
      </a:hlink>
      <a:folHlink>
        <a:srgbClr val="FFB600"/>
      </a:folHlink>
    </a:clrScheme>
    <a:fontScheme name="Accenture Graphik">
      <a:majorFont>
        <a:latin typeface="Graphik Blac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Hybrid Windows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cc_StratConsultTemplate_Graphik_102220" id="{FB18CB42-0691-9443-AA5B-F028A7B57796}" vid="{59614DBF-45D1-D74E-AC9F-944E0932E174}"/>
    </a:ext>
  </a:extLst>
</a:theme>
</file>

<file path=ppt/theme/theme4.xml><?xml version="1.0" encoding="utf-8"?>
<a:theme xmlns:a="http://schemas.openxmlformats.org/drawingml/2006/main" name="43_Hybrid Windows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cc_StratConsultTemplate_Graphik_102220" id="{FB18CB42-0691-9443-AA5B-F028A7B57796}" vid="{59614DBF-45D1-D74E-AC9F-944E0932E174}"/>
    </a:ext>
  </a:extLst>
</a:theme>
</file>

<file path=ppt/theme/theme5.xml><?xml version="1.0" encoding="utf-8"?>
<a:theme xmlns:a="http://schemas.openxmlformats.org/drawingml/2006/main" name="42_Hybrid Windows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cc_StratConsultTemplate_Graphik_102220" id="{FB18CB42-0691-9443-AA5B-F028A7B57796}" vid="{59614DBF-45D1-D74E-AC9F-944E0932E174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E1E2B39043C7E40952DF1086CF29555" ma:contentTypeVersion="2" ma:contentTypeDescription="Create a new document." ma:contentTypeScope="" ma:versionID="91638fd2cef831b1a2274e6e0264d240">
  <xsd:schema xmlns:xsd="http://www.w3.org/2001/XMLSchema" xmlns:xs="http://www.w3.org/2001/XMLSchema" xmlns:p="http://schemas.microsoft.com/office/2006/metadata/properties" xmlns:ns2="a0a1764d-9f19-445a-8b95-79336f5e3332" targetNamespace="http://schemas.microsoft.com/office/2006/metadata/properties" ma:root="true" ma:fieldsID="bdd2b82fdbb59bc8cc1edb58933ecc59" ns2:_="">
    <xsd:import namespace="a0a1764d-9f19-445a-8b95-79336f5e333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a1764d-9f19-445a-8b95-79336f5e333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C7A66EC-61B8-48EB-9312-43547FE385F8}">
  <ds:schemaRefs>
    <ds:schemaRef ds:uri="a0a1764d-9f19-445a-8b95-79336f5e333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8EFB9FAD-29D2-4ABD-B451-7F7D700C8D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928E0FA-7562-4859-A11C-420ACA25A119}">
  <ds:schemaRefs>
    <ds:schemaRef ds:uri="http://www.w3.org/XML/1998/namespace"/>
    <ds:schemaRef ds:uri="a0a1764d-9f19-445a-8b95-79336f5e3332"/>
    <ds:schemaRef ds:uri="http://schemas.microsoft.com/office/2006/documentManagement/types"/>
    <ds:schemaRef ds:uri="http://purl.org/dc/elements/1.1/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fae8262-b78e-4366-8929-a5d6aac95320}" enabled="1" method="Standard" siteId="{cf36141c-ddd7-45a7-b073-111f66d0b30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71</Words>
  <Application>Microsoft Office PowerPoint</Application>
  <PresentationFormat>Widescreen</PresentationFormat>
  <Paragraphs>183</Paragraphs>
  <Slides>6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26" baseType="lpstr">
      <vt:lpstr>-apple-system</vt:lpstr>
      <vt:lpstr>Arial</vt:lpstr>
      <vt:lpstr>Calibri</vt:lpstr>
      <vt:lpstr>Graphik</vt:lpstr>
      <vt:lpstr>Graphik Black</vt:lpstr>
      <vt:lpstr>Graphik Light</vt:lpstr>
      <vt:lpstr>Graphik Semibold</vt:lpstr>
      <vt:lpstr>Graphik-SemiboldItalic</vt:lpstr>
      <vt:lpstr>GT Sectra Fine Rg</vt:lpstr>
      <vt:lpstr>Segoe UI</vt:lpstr>
      <vt:lpstr>Segoe UI Light</vt:lpstr>
      <vt:lpstr>Segoe UI Semibold</vt:lpstr>
      <vt:lpstr>Segoe UI Semilight</vt:lpstr>
      <vt:lpstr>System Font</vt:lpstr>
      <vt:lpstr>1_Unrestricted</vt:lpstr>
      <vt:lpstr>1_Office Theme</vt:lpstr>
      <vt:lpstr>Hybrid Windows</vt:lpstr>
      <vt:lpstr>43_Hybrid Windows</vt:lpstr>
      <vt:lpstr>42_Hybrid Windows</vt:lpstr>
      <vt:lpstr>think-cell Slide</vt:lpstr>
      <vt:lpstr>PowerPoint Presentation</vt:lpstr>
      <vt:lpstr>High Level Discovery overview</vt:lpstr>
      <vt:lpstr>Alignment per workstream</vt:lpstr>
      <vt:lpstr>Sprint #2 Plan</vt:lpstr>
      <vt:lpstr>Remediation approach</vt:lpstr>
      <vt:lpstr>Tracker (sample data)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[Account Name, Sales Target $, Rev Growth %]</dc:title>
  <dc:subject/>
  <dc:creator>Lawrence Liang</dc:creator>
  <cp:keywords/>
  <dc:description/>
  <cp:lastModifiedBy>Juliana Bachtold</cp:lastModifiedBy>
  <cp:revision>1</cp:revision>
  <cp:lastPrinted>2021-07-26T23:22:19Z</cp:lastPrinted>
  <dcterms:created xsi:type="dcterms:W3CDTF">2020-06-29T05:59:53Z</dcterms:created>
  <dcterms:modified xsi:type="dcterms:W3CDTF">2022-08-15T06:54:26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5fae8262-b78e-4366-8929-a5d6aac95320_Enabled">
    <vt:lpwstr>true</vt:lpwstr>
  </property>
  <property fmtid="{D5CDD505-2E9C-101B-9397-08002B2CF9AE}" pid="3" name="MSIP_Label_5fae8262-b78e-4366-8929-a5d6aac95320_SetDate">
    <vt:lpwstr>2020-06-29T06:00:16Z</vt:lpwstr>
  </property>
  <property fmtid="{D5CDD505-2E9C-101B-9397-08002B2CF9AE}" pid="4" name="MSIP_Label_5fae8262-b78e-4366-8929-a5d6aac95320_Method">
    <vt:lpwstr>Standard</vt:lpwstr>
  </property>
  <property fmtid="{D5CDD505-2E9C-101B-9397-08002B2CF9AE}" pid="5" name="MSIP_Label_5fae8262-b78e-4366-8929-a5d6aac95320_Name">
    <vt:lpwstr>5fae8262-b78e-4366-8929-a5d6aac95320</vt:lpwstr>
  </property>
  <property fmtid="{D5CDD505-2E9C-101B-9397-08002B2CF9AE}" pid="6" name="MSIP_Label_5fae8262-b78e-4366-8929-a5d6aac95320_SiteId">
    <vt:lpwstr>cf36141c-ddd7-45a7-b073-111f66d0b30c</vt:lpwstr>
  </property>
  <property fmtid="{D5CDD505-2E9C-101B-9397-08002B2CF9AE}" pid="7" name="MSIP_Label_5fae8262-b78e-4366-8929-a5d6aac95320_ActionId">
    <vt:lpwstr>dab819fe-54ab-434a-9bdf-ea2b5825fcfb</vt:lpwstr>
  </property>
  <property fmtid="{D5CDD505-2E9C-101B-9397-08002B2CF9AE}" pid="8" name="MSIP_Label_5fae8262-b78e-4366-8929-a5d6aac95320_ContentBits">
    <vt:lpwstr>0</vt:lpwstr>
  </property>
  <property fmtid="{D5CDD505-2E9C-101B-9397-08002B2CF9AE}" pid="9" name="ContentTypeId">
    <vt:lpwstr>0x010100DE1E2B39043C7E40952DF1086CF29555</vt:lpwstr>
  </property>
</Properties>
</file>